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</p:sldMasterIdLst>
  <p:notesMasterIdLst>
    <p:notesMasterId r:id="rId20"/>
  </p:notesMasterIdLst>
  <p:sldIdLst>
    <p:sldId id="262" r:id="rId3"/>
    <p:sldId id="264" r:id="rId4"/>
    <p:sldId id="276" r:id="rId5"/>
    <p:sldId id="960" r:id="rId6"/>
    <p:sldId id="959" r:id="rId7"/>
    <p:sldId id="348" r:id="rId8"/>
    <p:sldId id="951" r:id="rId9"/>
    <p:sldId id="954" r:id="rId10"/>
    <p:sldId id="640" r:id="rId11"/>
    <p:sldId id="958" r:id="rId12"/>
    <p:sldId id="952" r:id="rId13"/>
    <p:sldId id="980" r:id="rId14"/>
    <p:sldId id="961" r:id="rId15"/>
    <p:sldId id="277" r:id="rId16"/>
    <p:sldId id="962" r:id="rId17"/>
    <p:sldId id="982" r:id="rId18"/>
    <p:sldId id="274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280" autoAdjust="0"/>
  </p:normalViewPr>
  <p:slideViewPr>
    <p:cSldViewPr snapToGrid="0" showGuides="1">
      <p:cViewPr varScale="1">
        <p:scale>
          <a:sx n="86" d="100"/>
          <a:sy n="86" d="100"/>
        </p:scale>
        <p:origin x="143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0BE1FB-433C-47D0-97F5-1DA9EAA8815D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55A185-4A4B-4D50-8AEF-B17CD38C3CE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27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sky-clouds-building-industry-39553/?utm_content=attributionCopyText&amp;utm_medium=referral&amp;utm_source=pexels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FF ebenfalls Mitglied der UN Klimaschutzinitiative</a:t>
            </a:r>
          </a:p>
          <a:p>
            <a:endParaRPr lang="de-DE" dirty="0"/>
          </a:p>
          <a:p>
            <a:r>
              <a:rPr lang="de-DE" dirty="0"/>
              <a:t>Verpflichtung, grosse Turniere auf Klimaschutz zu untersuchen. Kontakt zu myClimate und Swissunihockey als LOK der Weltmeisterschaft 2022 in der Schweiz.</a:t>
            </a:r>
          </a:p>
          <a:p>
            <a:r>
              <a:rPr lang="de-DE" dirty="0"/>
              <a:t>Green Goal, erarbeitet mit myClim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55A185-4A4B-4D50-8AEF-B17CD38C3CE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857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76193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7313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r>
              <a:rPr lang="de-CH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Umweltbundesamt (UBA) 2017; IPCC 2018, Special Report Global </a:t>
            </a:r>
            <a:r>
              <a:rPr lang="de-CH" sz="12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ming</a:t>
            </a:r>
            <a:r>
              <a:rPr lang="de-CH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2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CH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.5 ºC; FAU Florida </a:t>
            </a:r>
            <a:r>
              <a:rPr lang="de-CH" sz="120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antic</a:t>
            </a:r>
            <a:r>
              <a:rPr lang="de-CH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iversity 20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: </a:t>
            </a:r>
            <a:r>
              <a:rPr lang="de-CH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CH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Pexels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/ https://</a:t>
            </a:r>
            <a:r>
              <a:rPr lang="de-CH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w.pexels.com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e-CH" sz="1200" b="0" i="0" u="none" strike="noStrike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</a:t>
            </a:r>
            <a:r>
              <a:rPr lang="de-CH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sky-clouds-building-industry-39553/</a:t>
            </a:r>
            <a:endParaRPr lang="de-CH" sz="12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5037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emperaturabweichungen vom Mittel 1961-1990 in der Schweiz seit 1864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4574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s Wichtigste nun Vorab, auch gemäss myClimate: Messen (Measurement &amp; calculation!!!)</a:t>
            </a:r>
          </a:p>
          <a:p>
            <a:r>
              <a:rPr lang="de-DE" dirty="0"/>
              <a:t>Race to Zero. Ja aber wo stehe ich denn? 80/20 Regel. Wo kann ich mit 20% Einsatz bereits 80% vermeiden?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55A185-4A4B-4D50-8AEF-B17CD38C3CE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633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8FC58A-B125-3F4E-9403-B3BBA62E09B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6803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55A185-4A4B-4D50-8AEF-B17CD38C3CE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399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55A185-4A4B-4D50-8AEF-B17CD38C3CE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317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4200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5667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5751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2 Spalt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2275" y="640336"/>
            <a:ext cx="11374134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0547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Picture</a:t>
            </a: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326337" y="182622"/>
            <a:ext cx="5470072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325883" y="640336"/>
            <a:ext cx="5470526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55312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/Untertitel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68219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0" y="1287463"/>
            <a:ext cx="12192000" cy="5570537"/>
          </a:xfrm>
        </p:spPr>
        <p:txBody>
          <a:bodyPr lIns="503998" tIns="36000" rIns="503999">
            <a:noAutofit/>
          </a:bodyPr>
          <a:lstStyle>
            <a:lvl1pPr>
              <a:lnSpc>
                <a:spcPct val="120000"/>
              </a:lnSpc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CH" noProof="0"/>
              <a:t>Bild oder Text</a:t>
            </a:r>
          </a:p>
        </p:txBody>
      </p:sp>
    </p:spTree>
    <p:extLst>
      <p:ext uri="{BB962C8B-B14F-4D97-AF65-F5344CB8AC3E}">
        <p14:creationId xmlns:p14="http://schemas.microsoft.com/office/powerpoint/2010/main" val="39134577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/Untertitel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2868622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den Logo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6035040" y="0"/>
            <a:ext cx="615696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5780" y="2361462"/>
            <a:ext cx="4279900" cy="1737137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625451" y="2408187"/>
            <a:ext cx="4757737" cy="16436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Logo Kunde</a:t>
            </a:r>
          </a:p>
        </p:txBody>
      </p:sp>
    </p:spTree>
    <p:extLst>
      <p:ext uri="{BB962C8B-B14F-4D97-AF65-F5344CB8AC3E}">
        <p14:creationId xmlns:p14="http://schemas.microsoft.com/office/powerpoint/2010/main" val="631862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2 Spalt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2275" y="640336"/>
            <a:ext cx="11374134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6961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/Zahl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79650" y="4221088"/>
            <a:ext cx="7632700" cy="2636912"/>
          </a:xfrm>
        </p:spPr>
        <p:txBody>
          <a:bodyPr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6000">
                <a:latin typeface="Arial" charset="0"/>
                <a:ea typeface="Arial" charset="0"/>
                <a:cs typeface="Arial" charset="0"/>
              </a:defRPr>
            </a:lvl2pPr>
            <a:lvl3pPr>
              <a:defRPr sz="6000">
                <a:latin typeface="Arial" charset="0"/>
                <a:ea typeface="Arial" charset="0"/>
                <a:cs typeface="Arial" charset="0"/>
              </a:defRPr>
            </a:lvl3pPr>
            <a:lvl4pPr>
              <a:defRPr sz="6000">
                <a:latin typeface="Arial" charset="0"/>
                <a:ea typeface="Arial" charset="0"/>
                <a:cs typeface="Arial" charset="0"/>
              </a:defRPr>
            </a:lvl4pPr>
            <a:lvl5pPr>
              <a:defRPr sz="60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de-DE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028830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Picture</a:t>
            </a: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326337" y="182622"/>
            <a:ext cx="5470072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325883" y="640336"/>
            <a:ext cx="5470526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9284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6617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68219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0" y="1287463"/>
            <a:ext cx="12192000" cy="5570537"/>
          </a:xfrm>
        </p:spPr>
        <p:txBody>
          <a:bodyPr lIns="503998" tIns="36000" rIns="503999">
            <a:noAutofit/>
          </a:bodyPr>
          <a:lstStyle>
            <a:lvl1pPr>
              <a:lnSpc>
                <a:spcPct val="120000"/>
              </a:lnSpc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CH" noProof="0"/>
              <a:t>Bild oder Text</a:t>
            </a:r>
          </a:p>
        </p:txBody>
      </p:sp>
    </p:spTree>
    <p:extLst>
      <p:ext uri="{BB962C8B-B14F-4D97-AF65-F5344CB8AC3E}">
        <p14:creationId xmlns:p14="http://schemas.microsoft.com/office/powerpoint/2010/main" val="35405552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703784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Subtitle/Content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68219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noProof="0"/>
              <a:t>Sub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0" y="1287463"/>
            <a:ext cx="12192000" cy="5570537"/>
          </a:xfrm>
        </p:spPr>
        <p:txBody>
          <a:bodyPr lIns="503998" tIns="36000" rIns="503999">
            <a:noAutofit/>
          </a:bodyPr>
          <a:lstStyle>
            <a:lvl1pPr>
              <a:lnSpc>
                <a:spcPct val="120000"/>
              </a:lnSpc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noProof="0"/>
              <a:t>Picture or Text</a:t>
            </a:r>
          </a:p>
        </p:txBody>
      </p:sp>
    </p:spTree>
    <p:extLst>
      <p:ext uri="{BB962C8B-B14F-4D97-AF65-F5344CB8AC3E}">
        <p14:creationId xmlns:p14="http://schemas.microsoft.com/office/powerpoint/2010/main" val="12927684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und Banner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auto">
          <a:xfrm>
            <a:off x="0" y="4647453"/>
            <a:ext cx="12192000" cy="2210547"/>
          </a:xfrm>
          <a:prstGeom prst="rect">
            <a:avLst/>
          </a:prstGeom>
          <a:solidFill>
            <a:srgbClr val="004D9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4"/>
            <a:ext cx="5470072" cy="3157536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
Zweite Ebene
Dritte Ebene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6326337" y="1287464"/>
            <a:ext cx="5470072" cy="3157536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
Zweite Ebene
Dritte Ebene</a:t>
            </a:r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1230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22275" y="4953569"/>
            <a:ext cx="11374134" cy="1453176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40336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250242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8751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2 Rows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2275" y="640336"/>
            <a:ext cx="11374134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735875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ient Logo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6035040" y="0"/>
            <a:ext cx="615696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5780" y="2361462"/>
            <a:ext cx="4279900" cy="1737137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625451" y="2408187"/>
            <a:ext cx="4757737" cy="16436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Logo Client</a:t>
            </a:r>
          </a:p>
        </p:txBody>
      </p:sp>
    </p:spTree>
    <p:extLst>
      <p:ext uri="{BB962C8B-B14F-4D97-AF65-F5344CB8AC3E}">
        <p14:creationId xmlns:p14="http://schemas.microsoft.com/office/powerpoint/2010/main" val="31442177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09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609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191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698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74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134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993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75D4-5D0D-4CB9-83D0-9714DCBD7708}" type="datetimeFigureOut">
              <a:rPr lang="en-US" smtClean="0"/>
              <a:t>7/20/202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EE875D-7A8C-49E3-AEE5-D678FFE2341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751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BB952C08-AD8B-B449-ACD9-2F4096C2699B}" type="datetimeFigureOut">
              <a:rPr lang="de-CH" noProof="0" smtClean="0"/>
              <a:pPr/>
              <a:t>20.07.2022</a:t>
            </a:fld>
            <a:endParaRPr lang="de-CH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de-CH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31E5BF8F-2EE9-A046-B3A9-2E4A45AE9E81}" type="slidenum">
              <a:rPr lang="de-CH" noProof="0" smtClean="0"/>
              <a:pPr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1811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/>
        <a:buChar char="•"/>
        <a:defRPr sz="2800" b="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9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tiff"/><Relationship Id="rId10" Type="http://schemas.openxmlformats.org/officeDocument/2006/relationships/image" Target="../media/image15.emf"/><Relationship Id="rId4" Type="http://schemas.microsoft.com/office/2007/relationships/hdphoto" Target="../media/hdphoto1.wdp"/><Relationship Id="rId9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emf"/><Relationship Id="rId5" Type="http://schemas.openxmlformats.org/officeDocument/2006/relationships/image" Target="../media/image18.jpeg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www.meteoschweiz.admin.ch/home/klima/klimawandel-schweiz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DE6A193-4755-479A-BC6F-A7EBCA73BE1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A55B759-31A7-423C-9BC2-A8BC09FE98B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8"/>
            <a:ext cx="6754318" cy="6858478"/>
          </a:xfrm>
          <a:custGeom>
            <a:avLst/>
            <a:gdLst>
              <a:gd name="connsiteX0" fmla="*/ 0 w 6754318"/>
              <a:gd name="connsiteY0" fmla="*/ 6858478 h 6858478"/>
              <a:gd name="connsiteX1" fmla="*/ 6754318 w 6754318"/>
              <a:gd name="connsiteY1" fmla="*/ 6858478 h 6858478"/>
              <a:gd name="connsiteX2" fmla="*/ 3577943 w 6754318"/>
              <a:gd name="connsiteY2" fmla="*/ 0 h 6858478"/>
              <a:gd name="connsiteX3" fmla="*/ 3572366 w 6754318"/>
              <a:gd name="connsiteY3" fmla="*/ 0 h 6858478"/>
              <a:gd name="connsiteX4" fmla="*/ 2506138 w 6754318"/>
              <a:gd name="connsiteY4" fmla="*/ 0 h 6858478"/>
              <a:gd name="connsiteX5" fmla="*/ 0 w 6754318"/>
              <a:gd name="connsiteY5" fmla="*/ 0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4318" h="6858478">
                <a:moveTo>
                  <a:pt x="0" y="6858478"/>
                </a:moveTo>
                <a:lnTo>
                  <a:pt x="6754318" y="6858478"/>
                </a:lnTo>
                <a:lnTo>
                  <a:pt x="3577943" y="0"/>
                </a:lnTo>
                <a:lnTo>
                  <a:pt x="3572366" y="0"/>
                </a:lnTo>
                <a:lnTo>
                  <a:pt x="250613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78796AF-79A0-47AC-BEFD-BFFC00F968C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" y="-478"/>
            <a:ext cx="5953780" cy="6858478"/>
          </a:xfrm>
          <a:custGeom>
            <a:avLst/>
            <a:gdLst>
              <a:gd name="connsiteX0" fmla="*/ 0 w 5953780"/>
              <a:gd name="connsiteY0" fmla="*/ 6858478 h 6858478"/>
              <a:gd name="connsiteX1" fmla="*/ 5953780 w 5953780"/>
              <a:gd name="connsiteY1" fmla="*/ 6858478 h 6858478"/>
              <a:gd name="connsiteX2" fmla="*/ 2777405 w 5953780"/>
              <a:gd name="connsiteY2" fmla="*/ 0 h 6858478"/>
              <a:gd name="connsiteX3" fmla="*/ 2771828 w 5953780"/>
              <a:gd name="connsiteY3" fmla="*/ 0 h 6858478"/>
              <a:gd name="connsiteX4" fmla="*/ 1705600 w 5953780"/>
              <a:gd name="connsiteY4" fmla="*/ 0 h 6858478"/>
              <a:gd name="connsiteX5" fmla="*/ 0 w 5953780"/>
              <a:gd name="connsiteY5" fmla="*/ 0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3780" h="6858478">
                <a:moveTo>
                  <a:pt x="0" y="6858478"/>
                </a:moveTo>
                <a:lnTo>
                  <a:pt x="5953780" y="6858478"/>
                </a:lnTo>
                <a:lnTo>
                  <a:pt x="2777405" y="0"/>
                </a:lnTo>
                <a:lnTo>
                  <a:pt x="2771828" y="0"/>
                </a:lnTo>
                <a:lnTo>
                  <a:pt x="1705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534509" y="338328"/>
            <a:ext cx="4442674" cy="22494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 err="1">
                <a:latin typeface="Avenir Next LT Pro Light" panose="020B0304020202020204" pitchFamily="34" charset="0"/>
                <a:ea typeface="+mj-ea"/>
                <a:cs typeface="Arial" panose="020B0604020202020204" pitchFamily="34" charset="0"/>
              </a:rPr>
              <a:t>Nachhaltigkeitsprojekt</a:t>
            </a:r>
            <a:r>
              <a:rPr lang="en-US" sz="3200" b="1" dirty="0">
                <a:latin typeface="Avenir Next LT Pro Light" panose="020B0304020202020204" pitchFamily="34" charset="0"/>
                <a:ea typeface="+mj-ea"/>
                <a:cs typeface="Arial" panose="020B0604020202020204" pitchFamily="34" charset="0"/>
              </a:rPr>
              <a:t> Bern Capitals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2200" b="1" dirty="0">
              <a:latin typeface="Avenir Next LT Pro Light" panose="020B0304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200" dirty="0" err="1">
                <a:latin typeface="Avenir Next LT Pro Light" panose="020B0304020202020204" pitchFamily="34" charset="0"/>
                <a:ea typeface="+mj-ea"/>
                <a:cs typeface="Arial" panose="020B0604020202020204" pitchFamily="34" charset="0"/>
              </a:rPr>
              <a:t>Präsentation</a:t>
            </a:r>
            <a:r>
              <a:rPr lang="en-US" sz="2200" dirty="0">
                <a:latin typeface="Avenir Next LT Pro Light" panose="020B03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venir Next LT Pro Light" panose="020B0304020202020204" pitchFamily="34" charset="0"/>
                <a:ea typeface="+mj-ea"/>
                <a:cs typeface="Arial" panose="020B0604020202020204" pitchFamily="34" charset="0"/>
              </a:rPr>
              <a:t>Hauptversammlung</a:t>
            </a:r>
            <a:r>
              <a:rPr lang="en-US" sz="2200" dirty="0">
                <a:latin typeface="Avenir Next LT Pro Light" panose="020B0304020202020204" pitchFamily="34" charset="0"/>
                <a:ea typeface="+mj-ea"/>
                <a:cs typeface="Arial" panose="020B0604020202020204" pitchFamily="34" charset="0"/>
              </a:rPr>
              <a:t>, 29.06.2022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231" y="329822"/>
            <a:ext cx="2211664" cy="2222779"/>
          </a:xfrm>
          <a:prstGeom prst="rect">
            <a:avLst/>
          </a:prstGeom>
        </p:spPr>
      </p:pic>
      <p:pic>
        <p:nvPicPr>
          <p:cNvPr id="6" name="Picture 5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833FE785-B28A-8863-975F-79A3735F87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844" y="4347396"/>
            <a:ext cx="4406079" cy="23021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ED8ED2-7C63-4EA8-FBE5-FA18177B86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2181" y="2761029"/>
            <a:ext cx="3790978" cy="14573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DFC612D-55ED-FAB1-33CA-39F84FF7F9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0718" y="5348781"/>
            <a:ext cx="3470564" cy="127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470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98ADCCB-EC9D-474C-A4A8-15CBA1FCF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729" y="74901"/>
            <a:ext cx="11373680" cy="508000"/>
          </a:xfrm>
        </p:spPr>
        <p:txBody>
          <a:bodyPr/>
          <a:lstStyle/>
          <a:p>
            <a:r>
              <a:rPr lang="de-CH" sz="6000"/>
              <a:t>Der Klimawandel ist real und hervorgerufen durch menschliche Aktivitäten (Treibhausgasausstösse). Seine Auswirkungen sind spürbar. Wir müssen ihn eindämmen.</a:t>
            </a:r>
            <a:endParaRPr lang="de-DE" sz="6000"/>
          </a:p>
        </p:txBody>
      </p:sp>
      <p:sp>
        <p:nvSpPr>
          <p:cNvPr id="3" name="Textplatzhalter 15"/>
          <p:cNvSpPr>
            <a:spLocks noGrp="1"/>
          </p:cNvSpPr>
          <p:nvPr>
            <p:ph type="body" sz="quarter" idx="4294967295"/>
          </p:nvPr>
        </p:nvSpPr>
        <p:spPr>
          <a:xfrm>
            <a:off x="7025268" y="5655830"/>
            <a:ext cx="5166732" cy="44209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de-CH" dirty="0" smtClean="0"/>
              <a:t>Folie ist Eigentum von </a:t>
            </a:r>
            <a:r>
              <a:rPr lang="de-CH" dirty="0" err="1" smtClean="0"/>
              <a:t>myClim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5221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1" y="8465"/>
            <a:ext cx="12191999" cy="68579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DEF3F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2478493" y="175723"/>
            <a:ext cx="7193717" cy="6506554"/>
            <a:chOff x="2694151" y="241874"/>
            <a:chExt cx="7193717" cy="6506554"/>
          </a:xfrm>
        </p:grpSpPr>
        <p:sp>
          <p:nvSpPr>
            <p:cNvPr id="17" name="Ellipse 16"/>
            <p:cNvSpPr/>
            <p:nvPr/>
          </p:nvSpPr>
          <p:spPr>
            <a:xfrm>
              <a:off x="4290362" y="2788428"/>
              <a:ext cx="3960000" cy="3960000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720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1200" cap="none" spc="0" normalizeH="0" baseline="0" noProof="0">
                <a:ln>
                  <a:noFill/>
                </a:ln>
                <a:solidFill>
                  <a:srgbClr val="004D90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Ellipse 17"/>
            <p:cNvSpPr/>
            <p:nvPr/>
          </p:nvSpPr>
          <p:spPr>
            <a:xfrm>
              <a:off x="2694151" y="241874"/>
              <a:ext cx="3960000" cy="3960000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1200" cap="none" spc="0" normalizeH="0" baseline="0" noProof="0">
                <a:ln>
                  <a:noFill/>
                </a:ln>
                <a:solidFill>
                  <a:srgbClr val="004D90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Ellipse 18"/>
            <p:cNvSpPr/>
            <p:nvPr/>
          </p:nvSpPr>
          <p:spPr>
            <a:xfrm>
              <a:off x="5927868" y="241874"/>
              <a:ext cx="3960000" cy="3960000"/>
            </a:xfrm>
            <a:prstGeom prst="ellipse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600" b="0" i="0" u="none" strike="noStrike" kern="1200" cap="none" spc="0" normalizeH="0" baseline="0" noProof="0">
                <a:ln>
                  <a:noFill/>
                </a:ln>
                <a:solidFill>
                  <a:srgbClr val="004D90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2" name="Textfeld 21"/>
          <p:cNvSpPr txBox="1"/>
          <p:nvPr/>
        </p:nvSpPr>
        <p:spPr>
          <a:xfrm>
            <a:off x="7176540" y="1754087"/>
            <a:ext cx="29646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>
                <a:ln>
                  <a:noFill/>
                </a:ln>
                <a:solidFill>
                  <a:srgbClr val="004D90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Reduzieren</a:t>
            </a: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3761340" y="1784093"/>
            <a:ext cx="26797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>
                <a:ln>
                  <a:noFill/>
                </a:ln>
                <a:solidFill>
                  <a:srgbClr val="004D90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Vermeiden</a:t>
            </a: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5328484" y="4399718"/>
            <a:ext cx="24305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>
                <a:ln>
                  <a:noFill/>
                </a:ln>
                <a:solidFill>
                  <a:srgbClr val="004D90"/>
                </a:solidFill>
                <a:effectLst/>
                <a:uLnTx/>
                <a:uFillTx/>
                <a:latin typeface="Frutiger LT Com 45 Light" panose="020B0303030504020204" pitchFamily="34" charset="0"/>
                <a:ea typeface="+mn-ea"/>
                <a:cs typeface="+mn-cs"/>
              </a:rPr>
              <a:t>Kompensieren</a:t>
            </a: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rgbClr val="004D90"/>
              </a:solidFill>
              <a:effectLst/>
              <a:uLnTx/>
              <a:uFillTx/>
              <a:latin typeface="Frutiger LT Com 45 Light" panose="020B0303030504020204" pitchFamily="34" charset="0"/>
              <a:ea typeface="+mn-ea"/>
              <a:cs typeface="+mn-cs"/>
            </a:endParaRPr>
          </a:p>
        </p:txBody>
      </p:sp>
      <p:pic>
        <p:nvPicPr>
          <p:cNvPr id="25" name="Bild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76" y="339778"/>
            <a:ext cx="2063776" cy="1965822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6" name="Bild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700" y="4798172"/>
            <a:ext cx="2030130" cy="2041187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7" name="Bild 1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63" t="7276" r="10548" b="15767"/>
          <a:stretch/>
        </p:blipFill>
        <p:spPr>
          <a:xfrm>
            <a:off x="8839787" y="2722277"/>
            <a:ext cx="1856614" cy="1763053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3" name="Textplatzhalter 15"/>
          <p:cNvSpPr txBox="1">
            <a:spLocks/>
          </p:cNvSpPr>
          <p:nvPr/>
        </p:nvSpPr>
        <p:spPr>
          <a:xfrm>
            <a:off x="6969512" y="169430"/>
            <a:ext cx="5073805" cy="4420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/>
              <a:buChar char="•"/>
              <a:defRPr sz="2800" b="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400" dirty="0" smtClean="0"/>
              <a:t>Folie ist Eigentum von </a:t>
            </a:r>
            <a:r>
              <a:rPr lang="de-CH" sz="2400" dirty="0" err="1" smtClean="0"/>
              <a:t>myClimate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6883751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err="1"/>
              <a:t>Brückentechnolgie</a:t>
            </a:r>
            <a:endParaRPr lang="en-US"/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7315" y="846868"/>
            <a:ext cx="4629094" cy="4348716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7421218" y="949087"/>
            <a:ext cx="4121426" cy="3076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E3BB5EB-57B8-E843-89C6-1084573EED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1259" y="1238675"/>
            <a:ext cx="3408591" cy="2497858"/>
          </a:xfrm>
          <a:prstGeom prst="rect">
            <a:avLst/>
          </a:prstGeom>
        </p:spPr>
      </p:pic>
      <p:sp>
        <p:nvSpPr>
          <p:cNvPr id="10" name="Textplatzhalter 1"/>
          <p:cNvSpPr txBox="1">
            <a:spLocks/>
          </p:cNvSpPr>
          <p:nvPr/>
        </p:nvSpPr>
        <p:spPr>
          <a:xfrm>
            <a:off x="422728" y="1287463"/>
            <a:ext cx="5574949" cy="4828523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32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Überbrückt</a:t>
            </a:r>
            <a:r>
              <a:rPr lang="en-US" altLang="de-DE" sz="4400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 die </a:t>
            </a: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Zeit</a:t>
            </a:r>
            <a:r>
              <a:rPr lang="en-US" altLang="de-DE" sz="4400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, bevor die </a:t>
            </a: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klimafreundlichen</a:t>
            </a:r>
            <a:r>
              <a:rPr lang="en-US" altLang="de-DE" sz="4400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, innovative Techno-</a:t>
            </a: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logielösungen</a:t>
            </a:r>
            <a:r>
              <a:rPr lang="en-US" altLang="de-DE" sz="4400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 und </a:t>
            </a: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Verhaltensalternativensich</a:t>
            </a:r>
            <a:r>
              <a:rPr lang="en-US" altLang="de-DE" sz="4400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durchgesetzt</a:t>
            </a:r>
            <a:r>
              <a:rPr lang="en-US" altLang="de-DE" sz="4400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altLang="de-DE" sz="4400" err="1">
                <a:solidFill>
                  <a:srgbClr val="303030"/>
                </a:solidFill>
                <a:latin typeface="Arial" charset="0"/>
                <a:ea typeface="Arial" charset="0"/>
                <a:cs typeface="Arial" charset="0"/>
              </a:rPr>
              <a:t>haben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Inhaltsplatzhalter 2"/>
          <p:cNvSpPr>
            <a:spLocks noGrp="1"/>
          </p:cNvSpPr>
          <p:nvPr>
            <p:ph type="body" sz="quarter" idx="13"/>
          </p:nvPr>
        </p:nvSpPr>
        <p:spPr>
          <a:xfrm>
            <a:off x="422729" y="182622"/>
            <a:ext cx="11373680" cy="508000"/>
          </a:xfrm>
        </p:spPr>
        <p:txBody>
          <a:bodyPr/>
          <a:lstStyle/>
          <a:p>
            <a:r>
              <a:rPr lang="de-DE"/>
              <a:t>CO₂-Kompensation</a:t>
            </a:r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7855175" y="169430"/>
            <a:ext cx="4188142" cy="442093"/>
          </a:xfrm>
        </p:spPr>
        <p:txBody>
          <a:bodyPr/>
          <a:lstStyle/>
          <a:p>
            <a:r>
              <a:rPr lang="de-CH" dirty="0" smtClean="0"/>
              <a:t>Folie ist Eigentum von </a:t>
            </a:r>
            <a:r>
              <a:rPr lang="de-CH" dirty="0" err="1" smtClean="0"/>
              <a:t>myClim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9044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DE6A193-4755-479A-BC6F-A7EBCA73BE1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9045" y="1462952"/>
            <a:ext cx="3789988" cy="3809035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B8B8498-A488-40AF-99EB-F622ED9AD6B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8"/>
            <a:ext cx="8896786" cy="6858478"/>
          </a:xfrm>
          <a:custGeom>
            <a:avLst/>
            <a:gdLst>
              <a:gd name="connsiteX0" fmla="*/ 1472231 w 8896786"/>
              <a:gd name="connsiteY0" fmla="*/ 6858478 h 6858478"/>
              <a:gd name="connsiteX1" fmla="*/ 8896786 w 8896786"/>
              <a:gd name="connsiteY1" fmla="*/ 6858478 h 6858478"/>
              <a:gd name="connsiteX2" fmla="*/ 5720411 w 8896786"/>
              <a:gd name="connsiteY2" fmla="*/ 0 h 6858478"/>
              <a:gd name="connsiteX3" fmla="*/ 5714834 w 8896786"/>
              <a:gd name="connsiteY3" fmla="*/ 0 h 6858478"/>
              <a:gd name="connsiteX4" fmla="*/ 4648606 w 8896786"/>
              <a:gd name="connsiteY4" fmla="*/ 0 h 6858478"/>
              <a:gd name="connsiteX5" fmla="*/ 0 w 8896786"/>
              <a:gd name="connsiteY5" fmla="*/ 0 h 6858478"/>
              <a:gd name="connsiteX6" fmla="*/ 0 w 8896786"/>
              <a:gd name="connsiteY6" fmla="*/ 6857915 h 6858478"/>
              <a:gd name="connsiteX7" fmla="*/ 1472491 w 8896786"/>
              <a:gd name="connsiteY7" fmla="*/ 6857915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96786" h="6858478">
                <a:moveTo>
                  <a:pt x="1472231" y="6858478"/>
                </a:moveTo>
                <a:lnTo>
                  <a:pt x="8896786" y="6858478"/>
                </a:lnTo>
                <a:lnTo>
                  <a:pt x="5720411" y="0"/>
                </a:lnTo>
                <a:lnTo>
                  <a:pt x="5714834" y="0"/>
                </a:lnTo>
                <a:lnTo>
                  <a:pt x="4648606" y="0"/>
                </a:lnTo>
                <a:lnTo>
                  <a:pt x="0" y="0"/>
                </a:lnTo>
                <a:lnTo>
                  <a:pt x="0" y="6857915"/>
                </a:lnTo>
                <a:lnTo>
                  <a:pt x="1472491" y="6857915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F033D07-FE42-4E5C-A00A-FFE1D42C0F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9"/>
            <a:ext cx="8096249" cy="6858479"/>
          </a:xfrm>
          <a:custGeom>
            <a:avLst/>
            <a:gdLst>
              <a:gd name="connsiteX0" fmla="*/ 0 w 8096249"/>
              <a:gd name="connsiteY0" fmla="*/ 6858479 h 6858479"/>
              <a:gd name="connsiteX1" fmla="*/ 2130297 w 8096249"/>
              <a:gd name="connsiteY1" fmla="*/ 6858479 h 6858479"/>
              <a:gd name="connsiteX2" fmla="*/ 2130297 w 8096249"/>
              <a:gd name="connsiteY2" fmla="*/ 6858478 h 6858479"/>
              <a:gd name="connsiteX3" fmla="*/ 8096249 w 8096249"/>
              <a:gd name="connsiteY3" fmla="*/ 6858478 h 6858479"/>
              <a:gd name="connsiteX4" fmla="*/ 4919874 w 8096249"/>
              <a:gd name="connsiteY4" fmla="*/ 0 h 6858479"/>
              <a:gd name="connsiteX5" fmla="*/ 4914297 w 8096249"/>
              <a:gd name="connsiteY5" fmla="*/ 0 h 6858479"/>
              <a:gd name="connsiteX6" fmla="*/ 3848069 w 8096249"/>
              <a:gd name="connsiteY6" fmla="*/ 0 h 6858479"/>
              <a:gd name="connsiteX7" fmla="*/ 18197 w 8096249"/>
              <a:gd name="connsiteY7" fmla="*/ 0 h 6858479"/>
              <a:gd name="connsiteX8" fmla="*/ 18197 w 8096249"/>
              <a:gd name="connsiteY8" fmla="*/ 479 h 6858479"/>
              <a:gd name="connsiteX9" fmla="*/ 0 w 8096249"/>
              <a:gd name="connsiteY9" fmla="*/ 479 h 68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96249" h="6858479">
                <a:moveTo>
                  <a:pt x="0" y="6858479"/>
                </a:moveTo>
                <a:lnTo>
                  <a:pt x="2130297" y="6858479"/>
                </a:lnTo>
                <a:lnTo>
                  <a:pt x="2130297" y="6858478"/>
                </a:lnTo>
                <a:lnTo>
                  <a:pt x="8096249" y="6858478"/>
                </a:lnTo>
                <a:lnTo>
                  <a:pt x="4919874" y="0"/>
                </a:lnTo>
                <a:lnTo>
                  <a:pt x="4914297" y="0"/>
                </a:lnTo>
                <a:lnTo>
                  <a:pt x="3848069" y="0"/>
                </a:lnTo>
                <a:lnTo>
                  <a:pt x="18197" y="0"/>
                </a:lnTo>
                <a:lnTo>
                  <a:pt x="18197" y="479"/>
                </a:lnTo>
                <a:lnTo>
                  <a:pt x="0" y="479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214748" y="245660"/>
            <a:ext cx="6201750" cy="451583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/>
          <a:p>
            <a:pPr marL="685800" indent="-685800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>
                <a:latin typeface="+mj-lt"/>
                <a:ea typeface="+mj-ea"/>
                <a:cs typeface="+mj-cs"/>
              </a:rPr>
              <a:t>Caps </a:t>
            </a:r>
            <a:r>
              <a:rPr lang="en-US" sz="2400" dirty="0" err="1">
                <a:latin typeface="+mj-lt"/>
                <a:ea typeface="+mj-ea"/>
                <a:cs typeface="+mj-cs"/>
              </a:rPr>
              <a:t>haben</a:t>
            </a:r>
            <a:r>
              <a:rPr lang="en-US" sz="2400" dirty="0">
                <a:latin typeface="+mj-lt"/>
                <a:ea typeface="+mj-ea"/>
                <a:cs typeface="+mj-cs"/>
              </a:rPr>
              <a:t> “</a:t>
            </a:r>
            <a:r>
              <a:rPr lang="en-US" sz="2400" dirty="0" err="1">
                <a:latin typeface="+mj-lt"/>
                <a:ea typeface="+mj-ea"/>
                <a:cs typeface="+mj-cs"/>
              </a:rPr>
              <a:t>Vereinsrechner</a:t>
            </a:r>
            <a:r>
              <a:rPr lang="en-US" sz="2400" dirty="0">
                <a:latin typeface="+mj-lt"/>
                <a:ea typeface="+mj-ea"/>
                <a:cs typeface="+mj-cs"/>
              </a:rPr>
              <a:t>” </a:t>
            </a:r>
            <a:r>
              <a:rPr lang="en-US" sz="2400" dirty="0" err="1">
                <a:latin typeface="+mj-lt"/>
                <a:ea typeface="+mj-ea"/>
                <a:cs typeface="+mj-cs"/>
              </a:rPr>
              <a:t>angestossen</a:t>
            </a:r>
            <a:endParaRPr lang="en-US" sz="2400" dirty="0">
              <a:latin typeface="+mj-lt"/>
              <a:ea typeface="+mj-ea"/>
              <a:cs typeface="+mj-cs"/>
            </a:endParaRPr>
          </a:p>
          <a:p>
            <a:pPr marL="685800" indent="-685800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>
                <a:latin typeface="+mj-lt"/>
                <a:ea typeface="+mj-ea"/>
                <a:cs typeface="+mj-cs"/>
              </a:rPr>
              <a:t>Dieser </a:t>
            </a:r>
            <a:r>
              <a:rPr lang="en-US" sz="2400" dirty="0" err="1">
                <a:latin typeface="+mj-lt"/>
                <a:ea typeface="+mj-ea"/>
                <a:cs typeface="+mj-cs"/>
              </a:rPr>
              <a:t>erlaubt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eine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Ist-Aufnahme</a:t>
            </a:r>
            <a:r>
              <a:rPr lang="en-US" sz="2400" dirty="0">
                <a:latin typeface="+mj-lt"/>
                <a:ea typeface="+mj-ea"/>
                <a:cs typeface="+mj-cs"/>
              </a:rPr>
              <a:t> für </a:t>
            </a:r>
            <a:r>
              <a:rPr lang="en-US" sz="2400" dirty="0" err="1">
                <a:latin typeface="+mj-lt"/>
                <a:ea typeface="+mj-ea"/>
                <a:cs typeface="+mj-cs"/>
              </a:rPr>
              <a:t>uns</a:t>
            </a:r>
            <a:r>
              <a:rPr lang="en-US" sz="2400" dirty="0">
                <a:latin typeface="+mj-lt"/>
                <a:ea typeface="+mj-ea"/>
                <a:cs typeface="+mj-cs"/>
              </a:rPr>
              <a:t> und für alle </a:t>
            </a:r>
            <a:r>
              <a:rPr lang="en-US" sz="2400" dirty="0" err="1">
                <a:latin typeface="+mj-lt"/>
                <a:ea typeface="+mj-ea"/>
                <a:cs typeface="+mj-cs"/>
              </a:rPr>
              <a:t>anderen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Vereine</a:t>
            </a:r>
            <a:r>
              <a:rPr lang="en-US" sz="2400" dirty="0">
                <a:latin typeface="+mj-lt"/>
                <a:ea typeface="+mj-ea"/>
                <a:cs typeface="+mj-cs"/>
              </a:rPr>
              <a:t>. Der </a:t>
            </a:r>
            <a:r>
              <a:rPr lang="en-US" sz="2400" dirty="0" err="1">
                <a:latin typeface="+mj-lt"/>
                <a:ea typeface="+mj-ea"/>
                <a:cs typeface="+mj-cs"/>
              </a:rPr>
              <a:t>Rechner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zeigt</a:t>
            </a:r>
            <a:r>
              <a:rPr lang="en-US" sz="2400" dirty="0">
                <a:latin typeface="+mj-lt"/>
                <a:ea typeface="+mj-ea"/>
                <a:cs typeface="+mj-cs"/>
              </a:rPr>
              <a:t> auf, wo das </a:t>
            </a:r>
            <a:r>
              <a:rPr lang="en-US" sz="2400" dirty="0" err="1">
                <a:latin typeface="+mj-lt"/>
                <a:ea typeface="+mj-ea"/>
                <a:cs typeface="+mj-cs"/>
              </a:rPr>
              <a:t>grösste</a:t>
            </a:r>
            <a:r>
              <a:rPr lang="en-US" sz="2400" dirty="0">
                <a:latin typeface="+mj-lt"/>
                <a:ea typeface="+mj-ea"/>
                <a:cs typeface="+mj-cs"/>
              </a:rPr>
              <a:t> Potential </a:t>
            </a:r>
            <a:r>
              <a:rPr lang="en-US" sz="2400" dirty="0" err="1">
                <a:latin typeface="+mj-lt"/>
                <a:ea typeface="+mj-ea"/>
                <a:cs typeface="+mj-cs"/>
              </a:rPr>
              <a:t>zur</a:t>
            </a:r>
            <a:r>
              <a:rPr lang="en-US" sz="2400" dirty="0">
                <a:latin typeface="+mj-lt"/>
                <a:ea typeface="+mj-ea"/>
                <a:cs typeface="+mj-cs"/>
              </a:rPr>
              <a:t> CO2-Einsparung </a:t>
            </a:r>
            <a:r>
              <a:rPr lang="en-US" sz="2400" dirty="0" err="1">
                <a:latin typeface="+mj-lt"/>
                <a:ea typeface="+mj-ea"/>
                <a:cs typeface="+mj-cs"/>
              </a:rPr>
              <a:t>liegt</a:t>
            </a:r>
            <a:endParaRPr lang="en-US" sz="2400" dirty="0">
              <a:latin typeface="+mj-lt"/>
              <a:ea typeface="+mj-ea"/>
              <a:cs typeface="+mj-cs"/>
            </a:endParaRPr>
          </a:p>
          <a:p>
            <a:pPr marL="685800" indent="-685800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>
                <a:latin typeface="+mj-lt"/>
                <a:ea typeface="+mj-ea"/>
                <a:cs typeface="+mj-cs"/>
              </a:rPr>
              <a:t>Report </a:t>
            </a:r>
            <a:r>
              <a:rPr lang="en-US" sz="2400" dirty="0" err="1">
                <a:latin typeface="+mj-lt"/>
                <a:ea typeface="+mj-ea"/>
                <a:cs typeface="+mj-cs"/>
              </a:rPr>
              <a:t>erleichtert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Einstieg</a:t>
            </a:r>
            <a:r>
              <a:rPr lang="en-US" sz="2400" dirty="0">
                <a:latin typeface="+mj-lt"/>
                <a:ea typeface="+mj-ea"/>
                <a:cs typeface="+mj-cs"/>
              </a:rPr>
              <a:t> ins Thema</a:t>
            </a:r>
          </a:p>
          <a:p>
            <a:pPr marL="685800" indent="-685800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 err="1">
                <a:latin typeface="+mj-lt"/>
                <a:ea typeface="+mj-ea"/>
                <a:cs typeface="+mj-cs"/>
              </a:rPr>
              <a:t>Rechner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als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Ausgangspunkt</a:t>
            </a:r>
            <a:r>
              <a:rPr lang="en-US" sz="2400" dirty="0">
                <a:latin typeface="+mj-lt"/>
                <a:ea typeface="+mj-ea"/>
                <a:cs typeface="+mj-cs"/>
              </a:rPr>
              <a:t> für </a:t>
            </a:r>
            <a:r>
              <a:rPr lang="en-US" sz="2400" dirty="0" err="1">
                <a:latin typeface="+mj-lt"/>
                <a:ea typeface="+mj-ea"/>
                <a:cs typeface="+mj-cs"/>
              </a:rPr>
              <a:t>weitere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Massnahmen</a:t>
            </a:r>
            <a:endParaRPr lang="en-US" sz="2400" dirty="0">
              <a:latin typeface="+mj-lt"/>
              <a:ea typeface="+mj-ea"/>
              <a:cs typeface="+mj-cs"/>
            </a:endParaRPr>
          </a:p>
          <a:p>
            <a:pPr marL="685800" indent="-685800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 err="1">
                <a:latin typeface="+mj-lt"/>
                <a:ea typeface="+mj-ea"/>
                <a:cs typeface="+mj-cs"/>
              </a:rPr>
              <a:t>Swissunihockey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verleiht</a:t>
            </a:r>
            <a:r>
              <a:rPr lang="en-US" sz="2400" dirty="0">
                <a:latin typeface="+mj-lt"/>
                <a:ea typeface="+mj-ea"/>
                <a:cs typeface="+mj-cs"/>
              </a:rPr>
              <a:t> “Green Goal Award” an </a:t>
            </a:r>
            <a:r>
              <a:rPr lang="en-US" sz="2400" dirty="0" err="1">
                <a:latin typeface="+mj-lt"/>
                <a:ea typeface="+mj-ea"/>
                <a:cs typeface="+mj-cs"/>
              </a:rPr>
              <a:t>Vereine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gestützt</a:t>
            </a:r>
            <a:r>
              <a:rPr lang="en-US" sz="2400" dirty="0">
                <a:latin typeface="+mj-lt"/>
                <a:ea typeface="+mj-ea"/>
                <a:cs typeface="+mj-cs"/>
              </a:rPr>
              <a:t> auf </a:t>
            </a:r>
            <a:r>
              <a:rPr lang="en-US" sz="2400" dirty="0" err="1">
                <a:latin typeface="+mj-lt"/>
                <a:ea typeface="+mj-ea"/>
                <a:cs typeface="+mj-cs"/>
              </a:rPr>
              <a:t>eingereichte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Projekte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nach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Ausfüllen</a:t>
            </a:r>
            <a:r>
              <a:rPr lang="en-US" sz="2400" dirty="0">
                <a:latin typeface="+mj-lt"/>
                <a:ea typeface="+mj-ea"/>
                <a:cs typeface="+mj-cs"/>
              </a:rPr>
              <a:t> des </a:t>
            </a:r>
            <a:r>
              <a:rPr lang="en-US" sz="2400" dirty="0" err="1">
                <a:latin typeface="+mj-lt"/>
                <a:ea typeface="+mj-ea"/>
                <a:cs typeface="+mj-cs"/>
              </a:rPr>
              <a:t>Vereinsrechners</a:t>
            </a:r>
            <a:endParaRPr lang="en-US" sz="2400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63628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1BE3FA7-0D70-4431-814F-D8C40576EA9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0447FEF8-C302-6E30-6E8F-9A6CA765AB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604" r="9724" b="-2"/>
          <a:stretch/>
        </p:blipFill>
        <p:spPr>
          <a:xfrm>
            <a:off x="321731" y="557189"/>
            <a:ext cx="5668684" cy="5743618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61F5F532-D862-3FA8-534C-276EBA06EC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4043" b="2"/>
          <a:stretch/>
        </p:blipFill>
        <p:spPr>
          <a:xfrm>
            <a:off x="6195375" y="557189"/>
            <a:ext cx="5674893" cy="574361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F4958D2-46CF-F0F2-0A73-80C3A1DB57B8}"/>
              </a:ext>
            </a:extLst>
          </p:cNvPr>
          <p:cNvCxnSpPr>
            <a:cxnSpLocks/>
          </p:cNvCxnSpPr>
          <p:nvPr/>
        </p:nvCxnSpPr>
        <p:spPr>
          <a:xfrm>
            <a:off x="6195375" y="391886"/>
            <a:ext cx="0" cy="607807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5212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62225A2-D3F0-45D1-9C47-B1037531655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480073" cy="6858002"/>
          </a:xfrm>
          <a:custGeom>
            <a:avLst/>
            <a:gdLst>
              <a:gd name="connsiteX0" fmla="*/ 6130244 w 6480073"/>
              <a:gd name="connsiteY0" fmla="*/ 0 h 6858002"/>
              <a:gd name="connsiteX1" fmla="*/ 6212951 w 6480073"/>
              <a:gd name="connsiteY1" fmla="*/ 314584 h 6858002"/>
              <a:gd name="connsiteX2" fmla="*/ 5540779 w 6480073"/>
              <a:gd name="connsiteY2" fmla="*/ 6756649 h 6858002"/>
              <a:gd name="connsiteX3" fmla="*/ 5489971 w 6480073"/>
              <a:gd name="connsiteY3" fmla="*/ 6858002 h 6858002"/>
              <a:gd name="connsiteX4" fmla="*/ 0 w 6480073"/>
              <a:gd name="connsiteY4" fmla="*/ 6858002 h 6858002"/>
              <a:gd name="connsiteX5" fmla="*/ 0 w 6480073"/>
              <a:gd name="connsiteY5" fmla="*/ 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073" h="6858002">
                <a:moveTo>
                  <a:pt x="6130244" y="0"/>
                </a:moveTo>
                <a:lnTo>
                  <a:pt x="6212951" y="314584"/>
                </a:lnTo>
                <a:cubicBezTo>
                  <a:pt x="6745828" y="2551616"/>
                  <a:pt x="6460994" y="4808873"/>
                  <a:pt x="5540779" y="6756649"/>
                </a:cubicBezTo>
                <a:lnTo>
                  <a:pt x="5489971" y="6858002"/>
                </a:lnTo>
                <a:lnTo>
                  <a:pt x="0" y="685800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B9FBFA8-6AF4-4091-9C8B-DEC6D89338F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49216" cy="6858001"/>
          </a:xfrm>
          <a:custGeom>
            <a:avLst/>
            <a:gdLst>
              <a:gd name="connsiteX0" fmla="*/ 0 w 6249216"/>
              <a:gd name="connsiteY0" fmla="*/ 0 h 6858001"/>
              <a:gd name="connsiteX1" fmla="*/ 5893742 w 6249216"/>
              <a:gd name="connsiteY1" fmla="*/ 1 h 6858001"/>
              <a:gd name="connsiteX2" fmla="*/ 5993697 w 6249216"/>
              <a:gd name="connsiteY2" fmla="*/ 380651 h 6858001"/>
              <a:gd name="connsiteX3" fmla="*/ 5308924 w 6249216"/>
              <a:gd name="connsiteY3" fmla="*/ 6647018 h 6858001"/>
              <a:gd name="connsiteX4" fmla="*/ 5200672 w 6249216"/>
              <a:gd name="connsiteY4" fmla="*/ 6858001 h 6858001"/>
              <a:gd name="connsiteX5" fmla="*/ 1 w 6249216"/>
              <a:gd name="connsiteY5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49216" h="6858001">
                <a:moveTo>
                  <a:pt x="0" y="0"/>
                </a:moveTo>
                <a:lnTo>
                  <a:pt x="5893742" y="1"/>
                </a:lnTo>
                <a:lnTo>
                  <a:pt x="5993697" y="380651"/>
                </a:lnTo>
                <a:cubicBezTo>
                  <a:pt x="6511353" y="2559611"/>
                  <a:pt x="6222352" y="4758249"/>
                  <a:pt x="5308924" y="6647018"/>
                </a:cubicBezTo>
                <a:lnTo>
                  <a:pt x="5200672" y="6858001"/>
                </a:lnTo>
                <a:lnTo>
                  <a:pt x="1" y="6858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696" y="540780"/>
            <a:ext cx="2660716" cy="2674088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6674912" y="1769498"/>
            <a:ext cx="5237780" cy="28717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114300">
              <a:lnSpc>
                <a:spcPct val="90000"/>
              </a:lnSpc>
              <a:spcAft>
                <a:spcPts val="600"/>
              </a:spcAft>
            </a:pPr>
            <a:r>
              <a:rPr lang="en-US" sz="2400" dirty="0" err="1">
                <a:latin typeface="+mj-lt"/>
                <a:ea typeface="+mj-ea"/>
                <a:cs typeface="+mj-cs"/>
              </a:rPr>
              <a:t>Wichtig</a:t>
            </a:r>
            <a:r>
              <a:rPr lang="en-US" sz="2400" dirty="0">
                <a:latin typeface="+mj-lt"/>
                <a:ea typeface="+mj-ea"/>
                <a:cs typeface="+mj-cs"/>
              </a:rPr>
              <a:t>: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 err="1">
                <a:latin typeface="+mj-lt"/>
                <a:ea typeface="+mj-ea"/>
                <a:cs typeface="+mj-cs"/>
              </a:rPr>
              <a:t>Einsatz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im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Klimaschutz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bietet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Angriffsfläche</a:t>
            </a:r>
            <a:r>
              <a:rPr lang="en-US" sz="2400" dirty="0">
                <a:latin typeface="+mj-lt"/>
                <a:ea typeface="+mj-ea"/>
                <a:cs typeface="+mj-cs"/>
              </a:rPr>
              <a:t> (</a:t>
            </a:r>
            <a:r>
              <a:rPr lang="en-US" sz="2400" dirty="0" err="1">
                <a:latin typeface="+mj-lt"/>
                <a:ea typeface="+mj-ea"/>
                <a:cs typeface="+mj-cs"/>
              </a:rPr>
              <a:t>keiner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lebt</a:t>
            </a:r>
            <a:r>
              <a:rPr lang="en-US" sz="2400" dirty="0">
                <a:latin typeface="+mj-lt"/>
                <a:ea typeface="+mj-ea"/>
                <a:cs typeface="+mj-cs"/>
              </a:rPr>
              <a:t> 100% </a:t>
            </a:r>
            <a:r>
              <a:rPr lang="en-US" sz="2400" dirty="0" err="1">
                <a:latin typeface="+mj-lt"/>
                <a:ea typeface="+mj-ea"/>
                <a:cs typeface="+mj-cs"/>
              </a:rPr>
              <a:t>nachhaltig</a:t>
            </a:r>
            <a:r>
              <a:rPr lang="en-US" sz="2400" dirty="0">
                <a:latin typeface="+mj-lt"/>
                <a:ea typeface="+mj-ea"/>
                <a:cs typeface="+mj-cs"/>
              </a:rPr>
              <a:t>)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2400" dirty="0" err="1">
                <a:latin typeface="+mj-lt"/>
                <a:ea typeface="+mj-ea"/>
                <a:cs typeface="+mj-cs"/>
              </a:rPr>
              <a:t>Nichts</a:t>
            </a:r>
            <a:r>
              <a:rPr lang="en-US" sz="2400" dirty="0">
                <a:latin typeface="+mj-lt"/>
                <a:ea typeface="+mj-ea"/>
                <a:cs typeface="+mj-cs"/>
              </a:rPr>
              <a:t> tun </a:t>
            </a:r>
            <a:r>
              <a:rPr lang="en-US" sz="2400" dirty="0" err="1">
                <a:latin typeface="+mj-lt"/>
                <a:ea typeface="+mj-ea"/>
                <a:cs typeface="+mj-cs"/>
              </a:rPr>
              <a:t>ist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nicht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 err="1">
                <a:latin typeface="+mj-lt"/>
                <a:ea typeface="+mj-ea"/>
                <a:cs typeface="+mj-cs"/>
              </a:rPr>
              <a:t>besser</a:t>
            </a:r>
            <a:r>
              <a:rPr lang="en-US" sz="2400" dirty="0">
                <a:latin typeface="+mj-lt"/>
                <a:ea typeface="+mj-ea"/>
                <a:cs typeface="+mj-cs"/>
              </a:rPr>
              <a:t>!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90945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1BE3FA7-0D70-4431-814F-D8C40576EA9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" name="Textfeld 2">
            <a:extLst>
              <a:ext uri="{FF2B5EF4-FFF2-40B4-BE49-F238E27FC236}">
                <a16:creationId xmlns:a16="http://schemas.microsoft.com/office/drawing/2014/main" id="{931A033E-167D-5A5C-D981-6F5CE9E5D004}"/>
              </a:ext>
            </a:extLst>
          </p:cNvPr>
          <p:cNvSpPr txBox="1"/>
          <p:nvPr/>
        </p:nvSpPr>
        <p:spPr>
          <a:xfrm>
            <a:off x="701040" y="3429000"/>
            <a:ext cx="10789920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 welcher Kilometer-Zahl rechnet myClimate im «Vereinsrechner» für eine Autofahrt ins Training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zwei Nachkommastellen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3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ettel mit Zahl (Y,XX) und Vorname &amp; Name einwerfen.</a:t>
            </a:r>
            <a:endParaRPr lang="en-CH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Grafik 1">
            <a:extLst>
              <a:ext uri="{FF2B5EF4-FFF2-40B4-BE49-F238E27FC236}">
                <a16:creationId xmlns:a16="http://schemas.microsoft.com/office/drawing/2014/main" id="{B17C0131-2E39-D90C-01F1-6A3ACEADEBA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1" r="-2" b="-2"/>
          <a:stretch/>
        </p:blipFill>
        <p:spPr>
          <a:xfrm>
            <a:off x="417887" y="654718"/>
            <a:ext cx="2410692" cy="2403408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9" name="Textfeld 2">
            <a:extLst>
              <a:ext uri="{FF2B5EF4-FFF2-40B4-BE49-F238E27FC236}">
                <a16:creationId xmlns:a16="http://schemas.microsoft.com/office/drawing/2014/main" id="{CE39E400-BE48-D694-589E-A279C1625C63}"/>
              </a:ext>
            </a:extLst>
          </p:cNvPr>
          <p:cNvSpPr txBox="1"/>
          <p:nvPr/>
        </p:nvSpPr>
        <p:spPr>
          <a:xfrm>
            <a:off x="3548873" y="1001973"/>
            <a:ext cx="3930100" cy="1570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4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ttbewerb</a:t>
            </a:r>
            <a:endParaRPr lang="en-CH" sz="4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feld 2">
            <a:extLst>
              <a:ext uri="{FF2B5EF4-FFF2-40B4-BE49-F238E27FC236}">
                <a16:creationId xmlns:a16="http://schemas.microsoft.com/office/drawing/2014/main" id="{CE39E400-BE48-D694-589E-A279C1625C63}"/>
              </a:ext>
            </a:extLst>
          </p:cNvPr>
          <p:cNvSpPr txBox="1"/>
          <p:nvPr/>
        </p:nvSpPr>
        <p:spPr>
          <a:xfrm>
            <a:off x="7219764" y="168849"/>
            <a:ext cx="5229922" cy="1570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4800" b="1" dirty="0" smtClean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trag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CH" sz="35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chtige Antwort: </a:t>
            </a:r>
            <a:r>
              <a:rPr lang="de-CH" sz="3500" b="1" dirty="0" smtClean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,31km</a:t>
            </a:r>
            <a:endParaRPr lang="en-CH" sz="3500" b="1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645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6" descr="A hand holding a light bulb&#10;&#10;Description automatically generated with medium confidence">
            <a:extLst>
              <a:ext uri="{FF2B5EF4-FFF2-40B4-BE49-F238E27FC236}">
                <a16:creationId xmlns:a16="http://schemas.microsoft.com/office/drawing/2014/main" id="{AEC0C991-810E-4374-A82B-4DDE2A08F88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277" y="-414574"/>
            <a:ext cx="12292553" cy="819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416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DE6A193-4755-479A-BC6F-A7EBCA73BE1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9045" y="1462952"/>
            <a:ext cx="3789988" cy="3809035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B8B8498-A488-40AF-99EB-F622ED9AD6B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8"/>
            <a:ext cx="8896786" cy="6858478"/>
          </a:xfrm>
          <a:custGeom>
            <a:avLst/>
            <a:gdLst>
              <a:gd name="connsiteX0" fmla="*/ 1472231 w 8896786"/>
              <a:gd name="connsiteY0" fmla="*/ 6858478 h 6858478"/>
              <a:gd name="connsiteX1" fmla="*/ 8896786 w 8896786"/>
              <a:gd name="connsiteY1" fmla="*/ 6858478 h 6858478"/>
              <a:gd name="connsiteX2" fmla="*/ 5720411 w 8896786"/>
              <a:gd name="connsiteY2" fmla="*/ 0 h 6858478"/>
              <a:gd name="connsiteX3" fmla="*/ 5714834 w 8896786"/>
              <a:gd name="connsiteY3" fmla="*/ 0 h 6858478"/>
              <a:gd name="connsiteX4" fmla="*/ 4648606 w 8896786"/>
              <a:gd name="connsiteY4" fmla="*/ 0 h 6858478"/>
              <a:gd name="connsiteX5" fmla="*/ 0 w 8896786"/>
              <a:gd name="connsiteY5" fmla="*/ 0 h 6858478"/>
              <a:gd name="connsiteX6" fmla="*/ 0 w 8896786"/>
              <a:gd name="connsiteY6" fmla="*/ 6857915 h 6858478"/>
              <a:gd name="connsiteX7" fmla="*/ 1472491 w 8896786"/>
              <a:gd name="connsiteY7" fmla="*/ 6857915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96786" h="6858478">
                <a:moveTo>
                  <a:pt x="1472231" y="6858478"/>
                </a:moveTo>
                <a:lnTo>
                  <a:pt x="8896786" y="6858478"/>
                </a:lnTo>
                <a:lnTo>
                  <a:pt x="5720411" y="0"/>
                </a:lnTo>
                <a:lnTo>
                  <a:pt x="5714834" y="0"/>
                </a:lnTo>
                <a:lnTo>
                  <a:pt x="4648606" y="0"/>
                </a:lnTo>
                <a:lnTo>
                  <a:pt x="0" y="0"/>
                </a:lnTo>
                <a:lnTo>
                  <a:pt x="0" y="6857915"/>
                </a:lnTo>
                <a:lnTo>
                  <a:pt x="1472491" y="6857915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F033D07-FE42-4E5C-A00A-FFE1D42C0F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9"/>
            <a:ext cx="8096249" cy="6858479"/>
          </a:xfrm>
          <a:custGeom>
            <a:avLst/>
            <a:gdLst>
              <a:gd name="connsiteX0" fmla="*/ 0 w 8096249"/>
              <a:gd name="connsiteY0" fmla="*/ 6858479 h 6858479"/>
              <a:gd name="connsiteX1" fmla="*/ 2130297 w 8096249"/>
              <a:gd name="connsiteY1" fmla="*/ 6858479 h 6858479"/>
              <a:gd name="connsiteX2" fmla="*/ 2130297 w 8096249"/>
              <a:gd name="connsiteY2" fmla="*/ 6858478 h 6858479"/>
              <a:gd name="connsiteX3" fmla="*/ 8096249 w 8096249"/>
              <a:gd name="connsiteY3" fmla="*/ 6858478 h 6858479"/>
              <a:gd name="connsiteX4" fmla="*/ 4919874 w 8096249"/>
              <a:gd name="connsiteY4" fmla="*/ 0 h 6858479"/>
              <a:gd name="connsiteX5" fmla="*/ 4914297 w 8096249"/>
              <a:gd name="connsiteY5" fmla="*/ 0 h 6858479"/>
              <a:gd name="connsiteX6" fmla="*/ 3848069 w 8096249"/>
              <a:gd name="connsiteY6" fmla="*/ 0 h 6858479"/>
              <a:gd name="connsiteX7" fmla="*/ 18197 w 8096249"/>
              <a:gd name="connsiteY7" fmla="*/ 0 h 6858479"/>
              <a:gd name="connsiteX8" fmla="*/ 18197 w 8096249"/>
              <a:gd name="connsiteY8" fmla="*/ 479 h 6858479"/>
              <a:gd name="connsiteX9" fmla="*/ 0 w 8096249"/>
              <a:gd name="connsiteY9" fmla="*/ 479 h 68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96249" h="6858479">
                <a:moveTo>
                  <a:pt x="0" y="6858479"/>
                </a:moveTo>
                <a:lnTo>
                  <a:pt x="2130297" y="6858479"/>
                </a:lnTo>
                <a:lnTo>
                  <a:pt x="2130297" y="6858478"/>
                </a:lnTo>
                <a:lnTo>
                  <a:pt x="8096249" y="6858478"/>
                </a:lnTo>
                <a:lnTo>
                  <a:pt x="4919874" y="0"/>
                </a:lnTo>
                <a:lnTo>
                  <a:pt x="4914297" y="0"/>
                </a:lnTo>
                <a:lnTo>
                  <a:pt x="3848069" y="0"/>
                </a:lnTo>
                <a:lnTo>
                  <a:pt x="18197" y="0"/>
                </a:lnTo>
                <a:lnTo>
                  <a:pt x="18197" y="479"/>
                </a:lnTo>
                <a:lnTo>
                  <a:pt x="0" y="479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33052" y="1187285"/>
            <a:ext cx="6201750" cy="307238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/>
          <a:p>
            <a:pPr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dirty="0">
                <a:latin typeface="+mj-lt"/>
                <a:ea typeface="+mj-ea"/>
                <a:cs typeface="+mj-cs"/>
              </a:rPr>
              <a:t>Die Caps </a:t>
            </a:r>
            <a:r>
              <a:rPr lang="en-US" sz="5400" dirty="0" err="1">
                <a:latin typeface="+mj-lt"/>
                <a:ea typeface="+mj-ea"/>
                <a:cs typeface="+mj-cs"/>
              </a:rPr>
              <a:t>sind</a:t>
            </a:r>
            <a:r>
              <a:rPr lang="en-US" sz="5400" dirty="0">
                <a:latin typeface="+mj-lt"/>
                <a:ea typeface="+mj-ea"/>
                <a:cs typeface="+mj-cs"/>
              </a:rPr>
              <a:t> der </a:t>
            </a:r>
            <a:r>
              <a:rPr lang="en-US" sz="5400" b="1" dirty="0" err="1">
                <a:latin typeface="+mj-lt"/>
                <a:ea typeface="+mj-ea"/>
                <a:cs typeface="+mj-cs"/>
              </a:rPr>
              <a:t>erste</a:t>
            </a:r>
            <a:r>
              <a:rPr lang="en-US" sz="5400" b="1" dirty="0">
                <a:latin typeface="+mj-lt"/>
                <a:ea typeface="+mj-ea"/>
                <a:cs typeface="+mj-cs"/>
              </a:rPr>
              <a:t> Schweizer </a:t>
            </a:r>
            <a:r>
              <a:rPr lang="en-US" sz="5400" b="1" dirty="0" err="1">
                <a:latin typeface="+mj-lt"/>
                <a:ea typeface="+mj-ea"/>
                <a:cs typeface="+mj-cs"/>
              </a:rPr>
              <a:t>Sportverein</a:t>
            </a:r>
            <a:r>
              <a:rPr lang="en-US" sz="5400" b="1" dirty="0">
                <a:latin typeface="+mj-lt"/>
                <a:ea typeface="+mj-ea"/>
                <a:cs typeface="+mj-cs"/>
              </a:rPr>
              <a:t> </a:t>
            </a:r>
            <a:r>
              <a:rPr lang="en-US" sz="5400" dirty="0">
                <a:latin typeface="+mj-lt"/>
                <a:ea typeface="+mj-ea"/>
                <a:cs typeface="+mj-cs"/>
              </a:rPr>
              <a:t>(</a:t>
            </a:r>
            <a:r>
              <a:rPr lang="en-US" sz="5400" dirty="0" err="1">
                <a:latin typeface="+mj-lt"/>
                <a:ea typeface="+mj-ea"/>
                <a:cs typeface="+mj-cs"/>
              </a:rPr>
              <a:t>sportartenübergreifend</a:t>
            </a:r>
            <a:r>
              <a:rPr lang="en-US" sz="5400" dirty="0">
                <a:latin typeface="+mj-lt"/>
                <a:ea typeface="+mj-ea"/>
                <a:cs typeface="+mj-cs"/>
              </a:rPr>
              <a:t>!) der </a:t>
            </a:r>
            <a:r>
              <a:rPr lang="en-US" sz="5400" dirty="0" err="1">
                <a:latin typeface="+mj-lt"/>
                <a:ea typeface="+mj-ea"/>
                <a:cs typeface="+mj-cs"/>
              </a:rPr>
              <a:t>der</a:t>
            </a:r>
            <a:r>
              <a:rPr lang="en-US" sz="5400" dirty="0">
                <a:latin typeface="+mj-lt"/>
                <a:ea typeface="+mj-ea"/>
                <a:cs typeface="+mj-cs"/>
              </a:rPr>
              <a:t> UN-</a:t>
            </a:r>
            <a:r>
              <a:rPr lang="en-US" sz="5400" dirty="0" err="1">
                <a:latin typeface="+mj-lt"/>
                <a:ea typeface="+mj-ea"/>
                <a:cs typeface="+mj-cs"/>
              </a:rPr>
              <a:t>Klimaschutzinitiative</a:t>
            </a:r>
            <a:r>
              <a:rPr lang="en-US" sz="5400" dirty="0">
                <a:latin typeface="+mj-lt"/>
                <a:ea typeface="+mj-ea"/>
                <a:cs typeface="+mj-cs"/>
              </a:rPr>
              <a:t> </a:t>
            </a:r>
            <a:r>
              <a:rPr lang="en-US" sz="5400" dirty="0" err="1">
                <a:latin typeface="+mj-lt"/>
                <a:ea typeface="+mj-ea"/>
                <a:cs typeface="+mj-cs"/>
              </a:rPr>
              <a:t>beigetreten</a:t>
            </a:r>
            <a:r>
              <a:rPr lang="en-US" sz="5400" dirty="0">
                <a:latin typeface="+mj-lt"/>
                <a:ea typeface="+mj-ea"/>
                <a:cs typeface="+mj-cs"/>
              </a:rPr>
              <a:t> </a:t>
            </a:r>
            <a:r>
              <a:rPr lang="en-US" sz="5400" dirty="0" err="1">
                <a:latin typeface="+mj-lt"/>
                <a:ea typeface="+mj-ea"/>
                <a:cs typeface="+mj-cs"/>
              </a:rPr>
              <a:t>ist</a:t>
            </a:r>
            <a:endParaRPr lang="en-US" sz="5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EC6E08-8450-F22F-B8AF-EFFDEA0C83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536" y="209478"/>
            <a:ext cx="3790978" cy="145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055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62225A2-D3F0-45D1-9C47-B1037531655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480073" cy="6858002"/>
          </a:xfrm>
          <a:custGeom>
            <a:avLst/>
            <a:gdLst>
              <a:gd name="connsiteX0" fmla="*/ 6130244 w 6480073"/>
              <a:gd name="connsiteY0" fmla="*/ 0 h 6858002"/>
              <a:gd name="connsiteX1" fmla="*/ 6212951 w 6480073"/>
              <a:gd name="connsiteY1" fmla="*/ 314584 h 6858002"/>
              <a:gd name="connsiteX2" fmla="*/ 5540779 w 6480073"/>
              <a:gd name="connsiteY2" fmla="*/ 6756649 h 6858002"/>
              <a:gd name="connsiteX3" fmla="*/ 5489971 w 6480073"/>
              <a:gd name="connsiteY3" fmla="*/ 6858002 h 6858002"/>
              <a:gd name="connsiteX4" fmla="*/ 0 w 6480073"/>
              <a:gd name="connsiteY4" fmla="*/ 6858002 h 6858002"/>
              <a:gd name="connsiteX5" fmla="*/ 0 w 6480073"/>
              <a:gd name="connsiteY5" fmla="*/ 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073" h="6858002">
                <a:moveTo>
                  <a:pt x="6130244" y="0"/>
                </a:moveTo>
                <a:lnTo>
                  <a:pt x="6212951" y="314584"/>
                </a:lnTo>
                <a:cubicBezTo>
                  <a:pt x="6745828" y="2551616"/>
                  <a:pt x="6460994" y="4808873"/>
                  <a:pt x="5540779" y="6756649"/>
                </a:cubicBezTo>
                <a:lnTo>
                  <a:pt x="5489971" y="6858002"/>
                </a:lnTo>
                <a:lnTo>
                  <a:pt x="0" y="685800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B9FBFA8-6AF4-4091-9C8B-DEC6D89338F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49216" cy="6858001"/>
          </a:xfrm>
          <a:custGeom>
            <a:avLst/>
            <a:gdLst>
              <a:gd name="connsiteX0" fmla="*/ 0 w 6249216"/>
              <a:gd name="connsiteY0" fmla="*/ 0 h 6858001"/>
              <a:gd name="connsiteX1" fmla="*/ 5893742 w 6249216"/>
              <a:gd name="connsiteY1" fmla="*/ 1 h 6858001"/>
              <a:gd name="connsiteX2" fmla="*/ 5993697 w 6249216"/>
              <a:gd name="connsiteY2" fmla="*/ 380651 h 6858001"/>
              <a:gd name="connsiteX3" fmla="*/ 5308924 w 6249216"/>
              <a:gd name="connsiteY3" fmla="*/ 6647018 h 6858001"/>
              <a:gd name="connsiteX4" fmla="*/ 5200672 w 6249216"/>
              <a:gd name="connsiteY4" fmla="*/ 6858001 h 6858001"/>
              <a:gd name="connsiteX5" fmla="*/ 1 w 6249216"/>
              <a:gd name="connsiteY5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49216" h="6858001">
                <a:moveTo>
                  <a:pt x="0" y="0"/>
                </a:moveTo>
                <a:lnTo>
                  <a:pt x="5893742" y="1"/>
                </a:lnTo>
                <a:lnTo>
                  <a:pt x="5993697" y="380651"/>
                </a:lnTo>
                <a:cubicBezTo>
                  <a:pt x="6511353" y="2559611"/>
                  <a:pt x="6222352" y="4758249"/>
                  <a:pt x="5308924" y="6647018"/>
                </a:cubicBezTo>
                <a:lnTo>
                  <a:pt x="5200672" y="6858001"/>
                </a:lnTo>
                <a:lnTo>
                  <a:pt x="1" y="685800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696" y="540780"/>
            <a:ext cx="2660716" cy="2674088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6674912" y="1769498"/>
            <a:ext cx="5237780" cy="28717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114300">
              <a:lnSpc>
                <a:spcPct val="90000"/>
              </a:lnSpc>
              <a:spcAft>
                <a:spcPts val="600"/>
              </a:spcAft>
            </a:pPr>
            <a:r>
              <a:rPr lang="en-US" sz="2000" dirty="0" err="1"/>
              <a:t>Beitritt</a:t>
            </a:r>
            <a:r>
              <a:rPr lang="en-US" sz="2000" dirty="0"/>
              <a:t> </a:t>
            </a:r>
            <a:r>
              <a:rPr lang="en-US" sz="2000" dirty="0" err="1"/>
              <a:t>verpflichtet</a:t>
            </a:r>
            <a:r>
              <a:rPr lang="en-US" sz="2000" dirty="0"/>
              <a:t> </a:t>
            </a:r>
            <a:r>
              <a:rPr lang="en-US" sz="2000" dirty="0" err="1"/>
              <a:t>zu</a:t>
            </a:r>
            <a:r>
              <a:rPr lang="en-US" sz="2000" dirty="0"/>
              <a:t> </a:t>
            </a:r>
            <a:r>
              <a:rPr lang="en-US" sz="2000" dirty="0" err="1"/>
              <a:t>Prinzipien</a:t>
            </a:r>
            <a:r>
              <a:rPr lang="en-US" sz="2000" dirty="0"/>
              <a:t>: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endParaRPr lang="en-US" sz="2000" dirty="0"/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dirty="0"/>
              <a:t>Undertake </a:t>
            </a:r>
            <a:r>
              <a:rPr lang="en-US" sz="2000" b="1" dirty="0"/>
              <a:t>systematic efforts</a:t>
            </a:r>
            <a:r>
              <a:rPr lang="en-US" sz="2000" dirty="0"/>
              <a:t> to promote greater environmental responsibility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/>
              <a:t>Reduce</a:t>
            </a:r>
            <a:r>
              <a:rPr lang="en-US" sz="2000" dirty="0"/>
              <a:t> overall climate impact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/>
              <a:t>Educate</a:t>
            </a:r>
            <a:r>
              <a:rPr lang="en-US" sz="2000" dirty="0"/>
              <a:t> for climate action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/>
              <a:t>Promote</a:t>
            </a:r>
            <a:r>
              <a:rPr lang="en-US" sz="2000" dirty="0"/>
              <a:t> sustainable and responsible consumption</a:t>
            </a:r>
          </a:p>
          <a:p>
            <a:pPr marL="4572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/>
              <a:t>Advocate</a:t>
            </a:r>
            <a:r>
              <a:rPr lang="en-US" sz="2000" dirty="0"/>
              <a:t> for climate action through communic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982149-1E75-59A4-9B91-92519916C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169" y="4490533"/>
            <a:ext cx="3790978" cy="145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30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DE6A193-4755-479A-BC6F-A7EBCA73BE1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9045" y="1462952"/>
            <a:ext cx="3789988" cy="3809035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B8B8498-A488-40AF-99EB-F622ED9AD6B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8"/>
            <a:ext cx="8896786" cy="6858478"/>
          </a:xfrm>
          <a:custGeom>
            <a:avLst/>
            <a:gdLst>
              <a:gd name="connsiteX0" fmla="*/ 1472231 w 8896786"/>
              <a:gd name="connsiteY0" fmla="*/ 6858478 h 6858478"/>
              <a:gd name="connsiteX1" fmla="*/ 8896786 w 8896786"/>
              <a:gd name="connsiteY1" fmla="*/ 6858478 h 6858478"/>
              <a:gd name="connsiteX2" fmla="*/ 5720411 w 8896786"/>
              <a:gd name="connsiteY2" fmla="*/ 0 h 6858478"/>
              <a:gd name="connsiteX3" fmla="*/ 5714834 w 8896786"/>
              <a:gd name="connsiteY3" fmla="*/ 0 h 6858478"/>
              <a:gd name="connsiteX4" fmla="*/ 4648606 w 8896786"/>
              <a:gd name="connsiteY4" fmla="*/ 0 h 6858478"/>
              <a:gd name="connsiteX5" fmla="*/ 0 w 8896786"/>
              <a:gd name="connsiteY5" fmla="*/ 0 h 6858478"/>
              <a:gd name="connsiteX6" fmla="*/ 0 w 8896786"/>
              <a:gd name="connsiteY6" fmla="*/ 6857915 h 6858478"/>
              <a:gd name="connsiteX7" fmla="*/ 1472491 w 8896786"/>
              <a:gd name="connsiteY7" fmla="*/ 6857915 h 6858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96786" h="6858478">
                <a:moveTo>
                  <a:pt x="1472231" y="6858478"/>
                </a:moveTo>
                <a:lnTo>
                  <a:pt x="8896786" y="6858478"/>
                </a:lnTo>
                <a:lnTo>
                  <a:pt x="5720411" y="0"/>
                </a:lnTo>
                <a:lnTo>
                  <a:pt x="5714834" y="0"/>
                </a:lnTo>
                <a:lnTo>
                  <a:pt x="4648606" y="0"/>
                </a:lnTo>
                <a:lnTo>
                  <a:pt x="0" y="0"/>
                </a:lnTo>
                <a:lnTo>
                  <a:pt x="0" y="6857915"/>
                </a:lnTo>
                <a:lnTo>
                  <a:pt x="1472491" y="6857915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F033D07-FE42-4E5C-A00A-FFE1D42C0F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-479"/>
            <a:ext cx="8096249" cy="6858479"/>
          </a:xfrm>
          <a:custGeom>
            <a:avLst/>
            <a:gdLst>
              <a:gd name="connsiteX0" fmla="*/ 0 w 8096249"/>
              <a:gd name="connsiteY0" fmla="*/ 6858479 h 6858479"/>
              <a:gd name="connsiteX1" fmla="*/ 2130297 w 8096249"/>
              <a:gd name="connsiteY1" fmla="*/ 6858479 h 6858479"/>
              <a:gd name="connsiteX2" fmla="*/ 2130297 w 8096249"/>
              <a:gd name="connsiteY2" fmla="*/ 6858478 h 6858479"/>
              <a:gd name="connsiteX3" fmla="*/ 8096249 w 8096249"/>
              <a:gd name="connsiteY3" fmla="*/ 6858478 h 6858479"/>
              <a:gd name="connsiteX4" fmla="*/ 4919874 w 8096249"/>
              <a:gd name="connsiteY4" fmla="*/ 0 h 6858479"/>
              <a:gd name="connsiteX5" fmla="*/ 4914297 w 8096249"/>
              <a:gd name="connsiteY5" fmla="*/ 0 h 6858479"/>
              <a:gd name="connsiteX6" fmla="*/ 3848069 w 8096249"/>
              <a:gd name="connsiteY6" fmla="*/ 0 h 6858479"/>
              <a:gd name="connsiteX7" fmla="*/ 18197 w 8096249"/>
              <a:gd name="connsiteY7" fmla="*/ 0 h 6858479"/>
              <a:gd name="connsiteX8" fmla="*/ 18197 w 8096249"/>
              <a:gd name="connsiteY8" fmla="*/ 479 h 6858479"/>
              <a:gd name="connsiteX9" fmla="*/ 0 w 8096249"/>
              <a:gd name="connsiteY9" fmla="*/ 479 h 68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96249" h="6858479">
                <a:moveTo>
                  <a:pt x="0" y="6858479"/>
                </a:moveTo>
                <a:lnTo>
                  <a:pt x="2130297" y="6858479"/>
                </a:lnTo>
                <a:lnTo>
                  <a:pt x="2130297" y="6858478"/>
                </a:lnTo>
                <a:lnTo>
                  <a:pt x="8096249" y="6858478"/>
                </a:lnTo>
                <a:lnTo>
                  <a:pt x="4919874" y="0"/>
                </a:lnTo>
                <a:lnTo>
                  <a:pt x="4914297" y="0"/>
                </a:lnTo>
                <a:lnTo>
                  <a:pt x="3848069" y="0"/>
                </a:lnTo>
                <a:lnTo>
                  <a:pt x="18197" y="0"/>
                </a:lnTo>
                <a:lnTo>
                  <a:pt x="18197" y="479"/>
                </a:lnTo>
                <a:lnTo>
                  <a:pt x="0" y="479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294847" y="918343"/>
            <a:ext cx="6201750" cy="33309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0000" lnSpcReduction="20000"/>
          </a:bodyPr>
          <a:lstStyle/>
          <a:p>
            <a:pPr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dirty="0" err="1">
                <a:latin typeface="+mj-lt"/>
                <a:ea typeface="+mj-ea"/>
                <a:cs typeface="+mj-cs"/>
              </a:rPr>
              <a:t>Unsere</a:t>
            </a:r>
            <a:r>
              <a:rPr lang="en-US" sz="5400" dirty="0">
                <a:latin typeface="+mj-lt"/>
                <a:ea typeface="+mj-ea"/>
                <a:cs typeface="+mj-cs"/>
              </a:rPr>
              <a:t> “</a:t>
            </a:r>
            <a:r>
              <a:rPr lang="en-US" sz="5400" dirty="0" err="1">
                <a:latin typeface="+mj-lt"/>
                <a:ea typeface="+mj-ea"/>
                <a:cs typeface="+mj-cs"/>
              </a:rPr>
              <a:t>Reise</a:t>
            </a:r>
            <a:r>
              <a:rPr lang="en-US" sz="5400" dirty="0">
                <a:latin typeface="+mj-lt"/>
                <a:ea typeface="+mj-ea"/>
                <a:cs typeface="+mj-cs"/>
              </a:rPr>
              <a:t>”:</a:t>
            </a:r>
          </a:p>
          <a:p>
            <a:pPr marL="357188" indent="-357188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5400" dirty="0" err="1">
                <a:latin typeface="+mj-lt"/>
                <a:ea typeface="+mj-ea"/>
                <a:cs typeface="+mj-cs"/>
              </a:rPr>
              <a:t>Erstellung</a:t>
            </a:r>
            <a:r>
              <a:rPr lang="en-US" sz="5400" dirty="0">
                <a:latin typeface="+mj-lt"/>
                <a:ea typeface="+mj-ea"/>
                <a:cs typeface="+mj-cs"/>
              </a:rPr>
              <a:t> </a:t>
            </a:r>
            <a:r>
              <a:rPr lang="en-US" sz="5400" dirty="0" err="1">
                <a:latin typeface="+mj-lt"/>
                <a:ea typeface="+mj-ea"/>
                <a:cs typeface="+mj-cs"/>
              </a:rPr>
              <a:t>Nachhaltigkeitsprogramm</a:t>
            </a:r>
            <a:endParaRPr lang="en-US" sz="5400" dirty="0">
              <a:latin typeface="+mj-lt"/>
              <a:ea typeface="+mj-ea"/>
              <a:cs typeface="+mj-cs"/>
            </a:endParaRPr>
          </a:p>
          <a:p>
            <a:pPr marL="357188" indent="-357188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rnennung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chhaltigkeitsbeauftragte</a:t>
            </a:r>
            <a:endParaRPr lang="en-US" sz="5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357188" indent="-357188"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Hauptproblem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: </a:t>
            </a: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Ist-Zustand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/ wo fallen die </a:t>
            </a: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meisten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missionen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an?</a:t>
            </a:r>
          </a:p>
          <a:p>
            <a:pPr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</a:pPr>
            <a:endParaRPr lang="en-US" sz="5400" dirty="0">
              <a:latin typeface="+mj-lt"/>
              <a:ea typeface="+mj-ea"/>
              <a:cs typeface="+mj-cs"/>
            </a:endParaRPr>
          </a:p>
          <a:p>
            <a:pPr>
              <a:lnSpc>
                <a:spcPct val="14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Mehr</a:t>
            </a:r>
            <a:r>
              <a:rPr lang="en-US" sz="5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54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azu</a:t>
            </a:r>
            <a:r>
              <a:rPr lang="en-US" sz="5400" dirty="0">
                <a:latin typeface="+mj-lt"/>
                <a:ea typeface="+mj-ea"/>
                <a:cs typeface="+mj-cs"/>
              </a:rPr>
              <a:t>: “Blog” auf berncapitals.ch</a:t>
            </a:r>
            <a:endParaRPr lang="en-US" sz="54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68875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2A8920A4-63F7-D01E-7062-62829831F3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6904" y="2452254"/>
            <a:ext cx="4218656" cy="2204247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CD67800-37AC-4E14-89B0-F79DCB3FB8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16560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39AAAF8-A9FB-F758-670A-88B35C1A71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676" y="2775940"/>
            <a:ext cx="3537345" cy="129997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F1788F-A5AE-4188-8274-F7F2E3833EC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99592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chart&#10;&#10;Description automatically generated">
            <a:extLst>
              <a:ext uri="{FF2B5EF4-FFF2-40B4-BE49-F238E27FC236}">
                <a16:creationId xmlns:a16="http://schemas.microsoft.com/office/drawing/2014/main" id="{E5BDBFF7-4721-A29D-DA79-C0B83561FF2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2336" y="2682936"/>
            <a:ext cx="3517120" cy="14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341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Bild 7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2451" y="1617879"/>
            <a:ext cx="9739617" cy="5057499"/>
          </a:xfrm>
          <a:prstGeom prst="rect">
            <a:avLst/>
          </a:prstGeom>
        </p:spPr>
      </p:pic>
      <p:cxnSp>
        <p:nvCxnSpPr>
          <p:cNvPr id="13" name="Gerade Verbindung 12"/>
          <p:cNvCxnSpPr>
            <a:cxnSpLocks/>
            <a:endCxn id="61" idx="0"/>
          </p:cNvCxnSpPr>
          <p:nvPr/>
        </p:nvCxnSpPr>
        <p:spPr bwMode="auto">
          <a:xfrm>
            <a:off x="6092735" y="1833312"/>
            <a:ext cx="0" cy="167636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D9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feld 13"/>
          <p:cNvSpPr txBox="1"/>
          <p:nvPr/>
        </p:nvSpPr>
        <p:spPr>
          <a:xfrm>
            <a:off x="3895818" y="3409177"/>
            <a:ext cx="2276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Hauptsitz: Zürich, Schweiz</a:t>
            </a:r>
          </a:p>
        </p:txBody>
      </p:sp>
      <p:cxnSp>
        <p:nvCxnSpPr>
          <p:cNvPr id="17" name="Gerade Verbindung 16"/>
          <p:cNvCxnSpPr/>
          <p:nvPr/>
        </p:nvCxnSpPr>
        <p:spPr bwMode="auto">
          <a:xfrm flipH="1">
            <a:off x="6173005" y="3129845"/>
            <a:ext cx="3357" cy="27933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Oval 22"/>
          <p:cNvSpPr/>
          <p:nvPr/>
        </p:nvSpPr>
        <p:spPr bwMode="auto">
          <a:xfrm>
            <a:off x="6148653" y="3394048"/>
            <a:ext cx="54000" cy="54000"/>
          </a:xfrm>
          <a:prstGeom prst="ellipse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7" name="Gerade Verbindung 26"/>
          <p:cNvCxnSpPr/>
          <p:nvPr/>
        </p:nvCxnSpPr>
        <p:spPr bwMode="auto">
          <a:xfrm flipH="1">
            <a:off x="6173004" y="3129845"/>
            <a:ext cx="6725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Oval 60"/>
          <p:cNvSpPr/>
          <p:nvPr/>
        </p:nvSpPr>
        <p:spPr bwMode="auto">
          <a:xfrm>
            <a:off x="6038735" y="3509673"/>
            <a:ext cx="108000" cy="108000"/>
          </a:xfrm>
          <a:prstGeom prst="ellipse">
            <a:avLst/>
          </a:prstGeom>
          <a:solidFill>
            <a:srgbClr val="004D9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Stiftung </a:t>
            </a:r>
            <a:r>
              <a:rPr lang="de-DE" err="1"/>
              <a:t>myclimate</a:t>
            </a:r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CH" dirty="0"/>
              <a:t>Non-profit, ETH-</a:t>
            </a:r>
            <a:r>
              <a:rPr lang="de-CH" dirty="0" err="1"/>
              <a:t>Spinoff</a:t>
            </a:r>
            <a:r>
              <a:rPr lang="de-CH" dirty="0"/>
              <a:t>, gegründet 2002</a:t>
            </a:r>
            <a:endParaRPr lang="de-DE" dirty="0"/>
          </a:p>
        </p:txBody>
      </p:sp>
      <p:sp>
        <p:nvSpPr>
          <p:cNvPr id="91" name="Oval 90"/>
          <p:cNvSpPr/>
          <p:nvPr/>
        </p:nvSpPr>
        <p:spPr bwMode="auto">
          <a:xfrm>
            <a:off x="6845516" y="4730752"/>
            <a:ext cx="54000" cy="54000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3" name="Oval 92"/>
          <p:cNvSpPr/>
          <p:nvPr/>
        </p:nvSpPr>
        <p:spPr bwMode="auto">
          <a:xfrm>
            <a:off x="6749884" y="4681290"/>
            <a:ext cx="54000" cy="54000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98" name="Gerade Verbindung 97"/>
          <p:cNvCxnSpPr/>
          <p:nvPr/>
        </p:nvCxnSpPr>
        <p:spPr bwMode="auto">
          <a:xfrm>
            <a:off x="6091799" y="3586289"/>
            <a:ext cx="0" cy="14959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D9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Gerade Verbindung 102"/>
          <p:cNvCxnSpPr/>
          <p:nvPr/>
        </p:nvCxnSpPr>
        <p:spPr bwMode="auto">
          <a:xfrm flipV="1">
            <a:off x="4042116" y="5082198"/>
            <a:ext cx="2049683" cy="59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D9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6" name="Oval 95"/>
          <p:cNvSpPr/>
          <p:nvPr/>
        </p:nvSpPr>
        <p:spPr bwMode="auto">
          <a:xfrm>
            <a:off x="4005830" y="5055198"/>
            <a:ext cx="54000" cy="54000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05" name="Gerade Verbindung 104"/>
          <p:cNvCxnSpPr>
            <a:endCxn id="91" idx="2"/>
          </p:cNvCxnSpPr>
          <p:nvPr/>
        </p:nvCxnSpPr>
        <p:spPr bwMode="auto">
          <a:xfrm>
            <a:off x="6089908" y="4757752"/>
            <a:ext cx="7556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D9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Gerade Verbindung 105"/>
          <p:cNvCxnSpPr>
            <a:endCxn id="93" idx="4"/>
          </p:cNvCxnSpPr>
          <p:nvPr/>
        </p:nvCxnSpPr>
        <p:spPr bwMode="auto">
          <a:xfrm flipV="1">
            <a:off x="6776884" y="4735290"/>
            <a:ext cx="0" cy="2246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4D9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7" name="Bild 9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1985" y="4146628"/>
            <a:ext cx="1327223" cy="424800"/>
          </a:xfrm>
          <a:prstGeom prst="rect">
            <a:avLst/>
          </a:prstGeom>
        </p:spPr>
      </p:pic>
      <p:sp>
        <p:nvSpPr>
          <p:cNvPr id="108" name="Textfeld 107"/>
          <p:cNvSpPr txBox="1"/>
          <p:nvPr/>
        </p:nvSpPr>
        <p:spPr>
          <a:xfrm>
            <a:off x="6767735" y="1327688"/>
            <a:ext cx="2809402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 b="1" dirty="0">
                <a:solidFill>
                  <a:schemeClr val="accent3"/>
                </a:solidFill>
                <a:latin typeface="Arial"/>
                <a:ea typeface="Arial" charset="0"/>
                <a:cs typeface="Arial"/>
              </a:rPr>
              <a:t>Weltweit &gt; 120 Mitarbeitende</a:t>
            </a:r>
          </a:p>
        </p:txBody>
      </p:sp>
      <p:cxnSp>
        <p:nvCxnSpPr>
          <p:cNvPr id="31" name="Gerade Verbindung 27"/>
          <p:cNvCxnSpPr>
            <a:cxnSpLocks/>
          </p:cNvCxnSpPr>
          <p:nvPr/>
        </p:nvCxnSpPr>
        <p:spPr bwMode="auto">
          <a:xfrm>
            <a:off x="6240569" y="2456782"/>
            <a:ext cx="0" cy="58523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2" name="Bild 29" descr="zero-mission-rgb-logo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6396" y="2276744"/>
            <a:ext cx="1538402" cy="324000"/>
          </a:xfrm>
          <a:prstGeom prst="rect">
            <a:avLst/>
          </a:prstGeom>
        </p:spPr>
      </p:pic>
      <p:cxnSp>
        <p:nvCxnSpPr>
          <p:cNvPr id="33" name="Gerade Verbindung 88"/>
          <p:cNvCxnSpPr/>
          <p:nvPr/>
        </p:nvCxnSpPr>
        <p:spPr bwMode="auto">
          <a:xfrm flipH="1">
            <a:off x="6240569" y="2456782"/>
            <a:ext cx="53631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Oval 84"/>
          <p:cNvSpPr/>
          <p:nvPr/>
        </p:nvSpPr>
        <p:spPr bwMode="auto">
          <a:xfrm>
            <a:off x="6217647" y="2999539"/>
            <a:ext cx="54000" cy="54000"/>
          </a:xfrm>
          <a:prstGeom prst="ellipse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317" y="4800478"/>
            <a:ext cx="3095304" cy="1741541"/>
          </a:xfrm>
          <a:prstGeom prst="rect">
            <a:avLst/>
          </a:prstGeom>
        </p:spPr>
      </p:pic>
      <p:pic>
        <p:nvPicPr>
          <p:cNvPr id="38" name="Bild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49884" y="2785496"/>
            <a:ext cx="1647015" cy="684145"/>
          </a:xfrm>
          <a:prstGeom prst="rect">
            <a:avLst/>
          </a:prstGeom>
        </p:spPr>
      </p:pic>
      <p:sp>
        <p:nvSpPr>
          <p:cNvPr id="40" name="Textfeld 107"/>
          <p:cNvSpPr txBox="1"/>
          <p:nvPr/>
        </p:nvSpPr>
        <p:spPr>
          <a:xfrm>
            <a:off x="6767736" y="1546266"/>
            <a:ext cx="2703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rPr>
              <a:t>Umsatz 2020: CHF 28 Millionen</a:t>
            </a:r>
          </a:p>
        </p:txBody>
      </p: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42149FE1-3066-0B4A-92E8-65E209AE2907}"/>
              </a:ext>
            </a:extLst>
          </p:cNvPr>
          <p:cNvCxnSpPr>
            <a:cxnSpLocks/>
          </p:cNvCxnSpPr>
          <p:nvPr/>
        </p:nvCxnSpPr>
        <p:spPr bwMode="auto">
          <a:xfrm flipH="1">
            <a:off x="6023922" y="4390037"/>
            <a:ext cx="8662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42DADDA3-DAE7-674B-B2EC-EEA2F0788971}"/>
              </a:ext>
            </a:extLst>
          </p:cNvPr>
          <p:cNvCxnSpPr>
            <a:cxnSpLocks/>
          </p:cNvCxnSpPr>
          <p:nvPr/>
        </p:nvCxnSpPr>
        <p:spPr bwMode="auto">
          <a:xfrm flipV="1">
            <a:off x="6023922" y="3609389"/>
            <a:ext cx="0" cy="78064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3856C5D1-1FAD-9A49-9272-2156EFA70BCD}"/>
              </a:ext>
            </a:extLst>
          </p:cNvPr>
          <p:cNvSpPr/>
          <p:nvPr/>
        </p:nvSpPr>
        <p:spPr bwMode="auto">
          <a:xfrm>
            <a:off x="5996922" y="3582389"/>
            <a:ext cx="54000" cy="54000"/>
          </a:xfrm>
          <a:prstGeom prst="ellipse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6" name="Bild 14">
            <a:extLst>
              <a:ext uri="{FF2B5EF4-FFF2-40B4-BE49-F238E27FC236}">
                <a16:creationId xmlns:a16="http://schemas.microsoft.com/office/drawing/2014/main" id="{C799AB91-80C9-8B49-B1A8-F5DEBE8A18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20720" y="1215543"/>
            <a:ext cx="1647015" cy="684145"/>
          </a:xfrm>
          <a:prstGeom prst="rect">
            <a:avLst/>
          </a:prstGeom>
        </p:spPr>
      </p:pic>
      <p:cxnSp>
        <p:nvCxnSpPr>
          <p:cNvPr id="51" name="Gerade Verbindung 34">
            <a:extLst>
              <a:ext uri="{FF2B5EF4-FFF2-40B4-BE49-F238E27FC236}">
                <a16:creationId xmlns:a16="http://schemas.microsoft.com/office/drawing/2014/main" id="{B17E0A3D-D760-474F-8DA2-A61FA37573A3}"/>
              </a:ext>
            </a:extLst>
          </p:cNvPr>
          <p:cNvCxnSpPr/>
          <p:nvPr/>
        </p:nvCxnSpPr>
        <p:spPr bwMode="auto">
          <a:xfrm flipV="1">
            <a:off x="6216421" y="3553486"/>
            <a:ext cx="0" cy="6080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52" name="Gerade Verbindung 35">
            <a:extLst>
              <a:ext uri="{FF2B5EF4-FFF2-40B4-BE49-F238E27FC236}">
                <a16:creationId xmlns:a16="http://schemas.microsoft.com/office/drawing/2014/main" id="{ACF7CC7F-8104-41E9-81B0-AC0A34932541}"/>
              </a:ext>
            </a:extLst>
          </p:cNvPr>
          <p:cNvCxnSpPr/>
          <p:nvPr/>
        </p:nvCxnSpPr>
        <p:spPr bwMode="auto">
          <a:xfrm flipV="1">
            <a:off x="5402034" y="4155148"/>
            <a:ext cx="811212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3" name="Bild 4">
            <a:extLst>
              <a:ext uri="{FF2B5EF4-FFF2-40B4-BE49-F238E27FC236}">
                <a16:creationId xmlns:a16="http://schemas.microsoft.com/office/drawing/2014/main" id="{F4B1C11E-8D01-4690-8701-73A18DF73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9934" y="3732873"/>
            <a:ext cx="1649412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7855175" y="169430"/>
            <a:ext cx="4188142" cy="442093"/>
          </a:xfrm>
        </p:spPr>
        <p:txBody>
          <a:bodyPr/>
          <a:lstStyle/>
          <a:p>
            <a:r>
              <a:rPr lang="de-CH" dirty="0" smtClean="0"/>
              <a:t>Folie ist Eigentum von </a:t>
            </a:r>
            <a:r>
              <a:rPr lang="de-CH" dirty="0" err="1" smtClean="0"/>
              <a:t>myClim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111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altLang="de-DE"/>
              <a:t>Vi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Net-zero Society</a:t>
            </a:r>
          </a:p>
        </p:txBody>
      </p:sp>
      <p:sp>
        <p:nvSpPr>
          <p:cNvPr id="18" name="Textplatzhalter 1"/>
          <p:cNvSpPr txBox="1">
            <a:spLocks/>
          </p:cNvSpPr>
          <p:nvPr/>
        </p:nvSpPr>
        <p:spPr>
          <a:xfrm>
            <a:off x="422728" y="1287463"/>
            <a:ext cx="7297206" cy="482852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32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altLang="de-DE" sz="4400">
                <a:latin typeface="Arial" charset="0"/>
                <a:ea typeface="Arial" charset="0"/>
                <a:cs typeface="Arial" charset="0"/>
              </a:rPr>
              <a:t>Gemeinsam zum Ziel: </a:t>
            </a:r>
          </a:p>
          <a:p>
            <a:pPr marL="0" indent="0">
              <a:buNone/>
            </a:pPr>
            <a:r>
              <a:rPr lang="de-CH" sz="4400">
                <a:latin typeface="Arial" charset="0"/>
                <a:ea typeface="Arial" charset="0"/>
                <a:cs typeface="Arial" charset="0"/>
              </a:rPr>
              <a:t>0,6 Tonnen CO₂</a:t>
            </a:r>
            <a:endParaRPr lang="de-CH" sz="4400" baseline="-25000">
              <a:latin typeface="Arial" charset="0"/>
              <a:ea typeface="Arial" charset="0"/>
              <a:cs typeface="Arial" charset="0"/>
            </a:endParaRPr>
          </a:p>
          <a:p>
            <a:pPr marL="0" indent="0">
              <a:buNone/>
            </a:pPr>
            <a:r>
              <a:rPr lang="de-CH" sz="4400">
                <a:latin typeface="Arial" charset="0"/>
                <a:ea typeface="Arial" charset="0"/>
                <a:cs typeface="Arial" charset="0"/>
              </a:rPr>
              <a:t>pro Person</a:t>
            </a:r>
            <a:r>
              <a:rPr lang="de-CH" altLang="de-DE" sz="4400">
                <a:latin typeface="Arial" charset="0"/>
                <a:ea typeface="Arial" charset="0"/>
                <a:cs typeface="Arial" charset="0"/>
              </a:rPr>
              <a:t>.</a:t>
            </a:r>
          </a:p>
          <a:p>
            <a:endParaRPr lang="de-DE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5911" y="1805295"/>
            <a:ext cx="2249884" cy="1687413"/>
          </a:xfrm>
          <a:prstGeom prst="rect">
            <a:avLst/>
          </a:prstGeom>
        </p:spPr>
      </p:pic>
      <p:pic>
        <p:nvPicPr>
          <p:cNvPr id="27" name="Bild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7315" y="846868"/>
            <a:ext cx="4629094" cy="4348716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9204" y="945931"/>
            <a:ext cx="4120756" cy="3077929"/>
          </a:xfrm>
          <a:prstGeom prst="rect">
            <a:avLst/>
          </a:prstGeom>
        </p:spPr>
      </p:pic>
      <p:pic>
        <p:nvPicPr>
          <p:cNvPr id="36" name="Bild 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3988" y="1511115"/>
            <a:ext cx="1530809" cy="4604871"/>
          </a:xfrm>
          <a:prstGeom prst="rect">
            <a:avLst/>
          </a:prstGeom>
        </p:spPr>
      </p:pic>
      <p:sp>
        <p:nvSpPr>
          <p:cNvPr id="9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7855175" y="169430"/>
            <a:ext cx="4188142" cy="442093"/>
          </a:xfrm>
        </p:spPr>
        <p:txBody>
          <a:bodyPr/>
          <a:lstStyle/>
          <a:p>
            <a:r>
              <a:rPr lang="de-CH" dirty="0" smtClean="0"/>
              <a:t>Folie ist Eigentum von </a:t>
            </a:r>
            <a:r>
              <a:rPr lang="de-CH" dirty="0" err="1" smtClean="0"/>
              <a:t>myClim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0475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55000" lnSpcReduction="20000"/>
          </a:bodyPr>
          <a:lstStyle/>
          <a:p>
            <a:pPr>
              <a:spcAft>
                <a:spcPts val="600"/>
              </a:spcAft>
            </a:pPr>
            <a:r>
              <a:rPr lang="de-DE"/>
              <a:t>CO</a:t>
            </a:r>
            <a:r>
              <a:rPr lang="de-DE" baseline="-25000"/>
              <a:t>2</a:t>
            </a:r>
            <a:r>
              <a:rPr lang="de-DE"/>
              <a:t> ist unabdingbar für das Leben auf der Erde </a:t>
            </a:r>
            <a:r>
              <a:rPr lang="de-DE" sz="2600">
                <a:sym typeface="Wingdings" pitchFamily="2" charset="2"/>
              </a:rPr>
              <a:t> ohne CO</a:t>
            </a:r>
            <a:r>
              <a:rPr lang="de-DE" sz="2600" baseline="-25000">
                <a:sym typeface="Wingdings" pitchFamily="2" charset="2"/>
              </a:rPr>
              <a:t>2 </a:t>
            </a:r>
            <a:r>
              <a:rPr lang="de-DE" sz="2600">
                <a:sym typeface="Wingdings" pitchFamily="2" charset="2"/>
              </a:rPr>
              <a:t>läge die globale Durchschnitts-temperatur bei</a:t>
            </a:r>
            <a:r>
              <a:rPr lang="de-DE" sz="2600"/>
              <a:t> –18 °C (anstelle von +15 °C)</a:t>
            </a:r>
          </a:p>
          <a:p>
            <a:endParaRPr lang="de-DE"/>
          </a:p>
          <a:p>
            <a:r>
              <a:rPr lang="de-DE"/>
              <a:t>Es gab und gibt natürliche Schwankungen</a:t>
            </a:r>
          </a:p>
          <a:p>
            <a:pPr marL="0" indent="0">
              <a:buNone/>
            </a:pPr>
            <a:endParaRPr lang="de-DE"/>
          </a:p>
          <a:p>
            <a:r>
              <a:rPr lang="de-DE"/>
              <a:t>Aber: Seit Beginn der Industrialisierung sehen wir einen signifikanten Anstieg in der Atmosphäre</a:t>
            </a:r>
          </a:p>
          <a:p>
            <a:pPr marL="0" indent="0">
              <a:buNone/>
            </a:pPr>
            <a:endParaRPr lang="de-DE"/>
          </a:p>
          <a:p>
            <a:r>
              <a:rPr lang="de-DE"/>
              <a:t>Diese vom Menschen verursachte Intensivierung des natürlichen Treibhausgaseffektes verändert unser Klima</a:t>
            </a:r>
          </a:p>
          <a:p>
            <a:pPr marL="0" indent="0">
              <a:buNone/>
            </a:pPr>
            <a:endParaRPr lang="de-DE"/>
          </a:p>
          <a:p>
            <a:r>
              <a:rPr lang="de-DE"/>
              <a:t>Mit massiven Auswirkungen für die Menschen (und die Natur)</a:t>
            </a:r>
          </a:p>
          <a:p>
            <a:pPr marL="0" indent="0">
              <a:buNone/>
            </a:pP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Der Klimawand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3ED272EF-4E44-2F41-A215-14C54D525C1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20297" t="7583" r="38515" b="1686"/>
          <a:stretch/>
        </p:blipFill>
        <p:spPr>
          <a:xfrm>
            <a:off x="0" y="0"/>
            <a:ext cx="6096000" cy="6858001"/>
          </a:xfrm>
        </p:spPr>
      </p:pic>
      <p:sp>
        <p:nvSpPr>
          <p:cNvPr id="6" name="Textplatzhalter 15"/>
          <p:cNvSpPr txBox="1">
            <a:spLocks/>
          </p:cNvSpPr>
          <p:nvPr/>
        </p:nvSpPr>
        <p:spPr>
          <a:xfrm>
            <a:off x="7855175" y="169430"/>
            <a:ext cx="4188142" cy="4420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Folie ist Eigentum von myClimat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1917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s://www.meteoschweiz.admin.ch/content/meteoswiss/de/home/klima/klimawandel-schweiz/_jcr_content/content/textimage_4/image.mchimg.png/161001195746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769" y="1100720"/>
            <a:ext cx="9683071" cy="5589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6E5368D-1788-F34C-A516-9A1DCE4447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Klimawandel in der Schweiz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7F2C6A-83B0-4942-ADE0-1280EB4EDC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Temperaturabweichungen seit 1864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BB87374-501E-4DCE-9423-A49BF8524D6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7F68F3-4257-4C5C-B0D6-BB130C461D39}"/>
              </a:ext>
            </a:extLst>
          </p:cNvPr>
          <p:cNvSpPr/>
          <p:nvPr/>
        </p:nvSpPr>
        <p:spPr>
          <a:xfrm>
            <a:off x="9423400" y="6540500"/>
            <a:ext cx="1591440" cy="1179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feld 14"/>
          <p:cNvSpPr txBox="1"/>
          <p:nvPr/>
        </p:nvSpPr>
        <p:spPr>
          <a:xfrm>
            <a:off x="9135314" y="6425084"/>
            <a:ext cx="28769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u="none" strike="noStrike" kern="120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/>
                <a:hlinkClick r:id="rId4"/>
              </a:rPr>
              <a:t>Quelle: MeteoSchweiz (2020). </a:t>
            </a:r>
            <a:r>
              <a:rPr lang="de-CH" sz="900">
                <a:solidFill>
                  <a:srgbClr val="303030"/>
                </a:solidFill>
                <a:latin typeface="Arial" panose="020B0604020202020204"/>
                <a:hlinkClick r:id="rId4"/>
              </a:rPr>
              <a:t>Klimawandel Schweiz</a:t>
            </a:r>
            <a:endParaRPr kumimoji="0" lang="de-CH" sz="900" b="0" u="none" strike="noStrike" kern="120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platzhalter 15"/>
          <p:cNvSpPr txBox="1">
            <a:spLocks/>
          </p:cNvSpPr>
          <p:nvPr/>
        </p:nvSpPr>
        <p:spPr>
          <a:xfrm>
            <a:off x="7855175" y="169430"/>
            <a:ext cx="4188142" cy="44209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mtClean="0"/>
              <a:t>Folie ist Eigentum von myClim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81787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a5458c0-a785-49a0-8361-e99e956b861b"/>
  <p:tag name="MIO_GUID" val="d6312214-9ad5-446a-b64a-0cd19e22a74e"/>
  <p:tag name="MIO_UPDATE" val="True"/>
  <p:tag name="MIO_VERSION" val="14.03.2022 08:46:01"/>
  <p:tag name="MIO_DBID" val="D2ADB5CE-4791-4BD6-A5B0-2150AF1FFAC7"/>
  <p:tag name="MIO_LASTDOWNLOADED" val="23.03.2022 21:00:14.313"/>
  <p:tag name="MIO_OBJECTNAME" val="Picture 76"/>
  <p:tag name="MIO_LASTEDITORNAME" val="Alexander Maurer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yc-standard-2017">
  <a:themeElements>
    <a:clrScheme name="myclimate-Designfarben">
      <a:dk1>
        <a:srgbClr val="303030"/>
      </a:dk1>
      <a:lt1>
        <a:srgbClr val="FFFFFF"/>
      </a:lt1>
      <a:dk2>
        <a:srgbClr val="5BC5F2"/>
      </a:dk2>
      <a:lt2>
        <a:srgbClr val="999999"/>
      </a:lt2>
      <a:accent1>
        <a:srgbClr val="004D90"/>
      </a:accent1>
      <a:accent2>
        <a:srgbClr val="AE8D66"/>
      </a:accent2>
      <a:accent3>
        <a:srgbClr val="009FE3"/>
      </a:accent3>
      <a:accent4>
        <a:srgbClr val="99CC00"/>
      </a:accent4>
      <a:accent5>
        <a:srgbClr val="FF2F91"/>
      </a:accent5>
      <a:accent6>
        <a:srgbClr val="000000"/>
      </a:accent6>
      <a:hlink>
        <a:srgbClr val="943674"/>
      </a:hlink>
      <a:folHlink>
        <a:srgbClr val="F4520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7DD29F85-F467-4F9D-9CA1-3F2565F2314B}" vid="{F9B5D658-09B5-40D3-8D21-E299ABEDEC99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1</Words>
  <Application>Microsoft Office PowerPoint</Application>
  <PresentationFormat>Breitbild</PresentationFormat>
  <Paragraphs>87</Paragraphs>
  <Slides>17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6" baseType="lpstr">
      <vt:lpstr>Arial</vt:lpstr>
      <vt:lpstr>Avenir Next LT Pro Light</vt:lpstr>
      <vt:lpstr>Calibri</vt:lpstr>
      <vt:lpstr>Calibri Light</vt:lpstr>
      <vt:lpstr>Frutiger LT Com 45 Light</vt:lpstr>
      <vt:lpstr>Times New Roman</vt:lpstr>
      <vt:lpstr>Wingdings</vt:lpstr>
      <vt:lpstr>Office</vt:lpstr>
      <vt:lpstr>myc-standard-2017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Liebher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euscher Mario (LIN)</dc:creator>
  <cp:lastModifiedBy>Teuscher Mario (LIN)</cp:lastModifiedBy>
  <cp:revision>22</cp:revision>
  <dcterms:created xsi:type="dcterms:W3CDTF">2022-03-23T18:15:58Z</dcterms:created>
  <dcterms:modified xsi:type="dcterms:W3CDTF">2022-07-20T18:59:29Z</dcterms:modified>
</cp:coreProperties>
</file>